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5"/>
  </p:notesMasterIdLst>
  <p:sldIdLst>
    <p:sldId id="256" r:id="rId2"/>
    <p:sldId id="258" r:id="rId3"/>
    <p:sldId id="553" r:id="rId4"/>
    <p:sldId id="585" r:id="rId5"/>
    <p:sldId id="586" r:id="rId6"/>
    <p:sldId id="590" r:id="rId7"/>
    <p:sldId id="587" r:id="rId8"/>
    <p:sldId id="591" r:id="rId9"/>
    <p:sldId id="592" r:id="rId10"/>
    <p:sldId id="594" r:id="rId11"/>
    <p:sldId id="593" r:id="rId12"/>
    <p:sldId id="595" r:id="rId13"/>
    <p:sldId id="538" r:id="rId1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esentación" id="{E9678120-2CCB-4928-9317-8E9A9F9DB340}">
          <p14:sldIdLst>
            <p14:sldId id="256"/>
            <p14:sldId id="258"/>
            <p14:sldId id="553"/>
            <p14:sldId id="585"/>
            <p14:sldId id="586"/>
            <p14:sldId id="590"/>
            <p14:sldId id="587"/>
            <p14:sldId id="591"/>
            <p14:sldId id="592"/>
            <p14:sldId id="594"/>
            <p14:sldId id="593"/>
            <p14:sldId id="595"/>
            <p14:sldId id="538"/>
          </p14:sldIdLst>
        </p14:section>
        <p14:section name="Anexos" id="{DA0191D4-D04C-43D5-A929-42BB95D7D5EB}">
          <p14:sldIdLst/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1C54"/>
    <a:srgbClr val="A80000"/>
    <a:srgbClr val="CC7832"/>
    <a:srgbClr val="F0F0F0"/>
    <a:srgbClr val="F2F2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DA37D80-6434-44D0-A028-1B22A696006F}" styleName="Estilo claro 3 - Acento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6357" autoAdjust="0"/>
  </p:normalViewPr>
  <p:slideViewPr>
    <p:cSldViewPr snapToGrid="0">
      <p:cViewPr varScale="1">
        <p:scale>
          <a:sx n="114" d="100"/>
          <a:sy n="114" d="100"/>
        </p:scale>
        <p:origin x="414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118F894-A91F-4842-BD9A-7582ADBE2C27}" type="datetimeFigureOut">
              <a:rPr lang="en-US" smtClean="0"/>
              <a:t>5/10/2021</a:t>
            </a:fld>
            <a:endParaRPr lang="en-US" dirty="0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F1E201-2964-428B-8F9E-A0F4DF4FA515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7844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7844BF9-7098-4F02-A977-3061E8379AB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5436454F-3A4C-4F6B-A988-8F4A8A21597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CDF04913-968D-4F4A-8889-0FB8196CE6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119D3F-0F06-48B5-A311-F7380CC22BDC}" type="datetimeFigureOut">
              <a:rPr lang="en-US" smtClean="0"/>
              <a:t>5/10/2021</a:t>
            </a:fld>
            <a:endParaRPr lang="en-US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22240EF8-A6A3-4E97-B5B5-4D34BF1FB6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69E4C5EE-23FB-463A-89C0-D277387E39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200090-CC4D-4F85-9A86-CD9206B93EE7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394981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9F611D4-EB0C-4855-9F92-A69775C83A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86CAB6DF-799B-42D7-BC20-F6BD06B604B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3DE5AF42-73D7-4C36-9B60-04FD0A3D1F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119D3F-0F06-48B5-A311-F7380CC22BDC}" type="datetimeFigureOut">
              <a:rPr lang="en-US" smtClean="0"/>
              <a:t>5/10/2021</a:t>
            </a:fld>
            <a:endParaRPr lang="en-US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4617138E-532F-4C08-BE84-340C526BDD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0139E10C-9348-42C9-9477-D3C4421E4B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200090-CC4D-4F85-9A86-CD9206B93EE7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53877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2918E2E2-AF1F-460E-8B3F-E2631717252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AA430249-398F-43FB-AD36-7128ED45C01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F8FCB47B-D975-4110-AE09-337D709C26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119D3F-0F06-48B5-A311-F7380CC22BDC}" type="datetimeFigureOut">
              <a:rPr lang="en-US" smtClean="0"/>
              <a:t>5/10/2021</a:t>
            </a:fld>
            <a:endParaRPr lang="en-US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919E0790-7590-4870-9E19-EF9C32771C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8020B9DC-1251-4D8B-A2BE-2D944DFC86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200090-CC4D-4F85-9A86-CD9206B93EE7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22580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420C4D5-6E70-4702-9163-2ABC01F48F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FFA9BE07-C75C-4F2B-9F5E-ACE002AF73B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A7E82C1F-C9FD-4E72-A1FD-5B47E1417C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119D3F-0F06-48B5-A311-F7380CC22BDC}" type="datetimeFigureOut">
              <a:rPr lang="en-US" smtClean="0"/>
              <a:t>5/10/2021</a:t>
            </a:fld>
            <a:endParaRPr lang="en-US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4386BAA0-3ED6-42C0-9B18-9DA9293E3A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203F7281-DABE-4773-90E5-E02A5BADB1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200090-CC4D-4F85-9A86-CD9206B93EE7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894328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F2C8476-B0AA-4BE8-BB8D-52E5F3D761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48116F1A-5630-4820-B9AD-FF621A1B8CA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97E3EAFE-31A8-422D-A039-7CAAF3EBDE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119D3F-0F06-48B5-A311-F7380CC22BDC}" type="datetimeFigureOut">
              <a:rPr lang="en-US" smtClean="0"/>
              <a:t>5/10/2021</a:t>
            </a:fld>
            <a:endParaRPr lang="en-US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9146D357-0360-40FB-8DB4-8CD1A5B6A7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62B2D1AC-DA20-441B-B5F1-2E57E71EA5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200090-CC4D-4F85-9A86-CD9206B93EE7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75902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7761E19-D494-45FC-870A-6906BB7EB1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59C9A252-A343-4126-A7F0-94532BB50E9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8E7130EB-6954-44AE-B07E-1B9A28582D8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45A5915C-E71E-458C-8AFD-F980FC0A15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119D3F-0F06-48B5-A311-F7380CC22BDC}" type="datetimeFigureOut">
              <a:rPr lang="en-US" smtClean="0"/>
              <a:t>5/10/2021</a:t>
            </a:fld>
            <a:endParaRPr lang="en-US" dirty="0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4D61CEE1-4B9C-4F8A-B22F-898E4B7A41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8D4C136E-5A01-4856-842C-8EFF1519F5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200090-CC4D-4F85-9A86-CD9206B93EE7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91478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0A50C5A-F00C-432D-B570-E597EFB5D5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565F3A80-173A-4C5B-9B09-341A6B5FDB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EF3B112F-9A5F-4841-AC9A-A42E283D519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6B1BD868-24EA-4E91-B722-74B4A90F34D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18D81A29-E72C-47BB-A3B1-C1E1162BDB8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13D93F3E-1524-4FAB-A935-6CB86FE9EB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119D3F-0F06-48B5-A311-F7380CC22BDC}" type="datetimeFigureOut">
              <a:rPr lang="en-US" smtClean="0"/>
              <a:t>5/10/2021</a:t>
            </a:fld>
            <a:endParaRPr lang="en-US" dirty="0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8737C0E9-DA78-4BE4-AB23-5F3BA8454F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5FD70915-88FD-4EE0-BE27-1D788E5C91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200090-CC4D-4F85-9A86-CD9206B93EE7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579014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D977B4B-0226-462C-AE54-F1DE35B113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6C6371EF-34A3-4082-A86A-23BD9D644F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119D3F-0F06-48B5-A311-F7380CC22BDC}" type="datetimeFigureOut">
              <a:rPr lang="en-US" smtClean="0"/>
              <a:t>5/10/2021</a:t>
            </a:fld>
            <a:endParaRPr lang="en-US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A788AF98-2AAD-465F-AA27-DFA4530FEB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7F05BFD9-CD43-4899-873B-F1417B7886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200090-CC4D-4F85-9A86-CD9206B93EE7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21108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C6B06CCB-BA9F-4F55-B016-1428ED26D9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119D3F-0F06-48B5-A311-F7380CC22BDC}" type="datetimeFigureOut">
              <a:rPr lang="en-US" smtClean="0"/>
              <a:t>5/10/2021</a:t>
            </a:fld>
            <a:endParaRPr lang="en-US" dirty="0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60A6025B-BF77-459B-8E82-C39188D7B1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C72EA599-8BA1-4019-AC94-30D7BE6B4C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200090-CC4D-4F85-9A86-CD9206B93EE7}" type="slidenum">
              <a:rPr lang="en-US" smtClean="0"/>
              <a:t>‹Nº›</a:t>
            </a:fld>
            <a:endParaRPr lang="en-US" dirty="0"/>
          </a:p>
        </p:txBody>
      </p:sp>
      <p:sp>
        <p:nvSpPr>
          <p:cNvPr id="6" name="Triángulo isósceles 5">
            <a:extLst>
              <a:ext uri="{FF2B5EF4-FFF2-40B4-BE49-F238E27FC236}">
                <a16:creationId xmlns:a16="http://schemas.microsoft.com/office/drawing/2014/main" id="{7C65275E-5DA1-445C-9DF4-B855720B73BA}"/>
              </a:ext>
            </a:extLst>
          </p:cNvPr>
          <p:cNvSpPr/>
          <p:nvPr userDrawn="1"/>
        </p:nvSpPr>
        <p:spPr>
          <a:xfrm>
            <a:off x="0" y="989901"/>
            <a:ext cx="12192001" cy="5868099"/>
          </a:xfrm>
          <a:prstGeom prst="triangle">
            <a:avLst>
              <a:gd name="adj" fmla="val 100000"/>
            </a:avLst>
          </a:prstGeom>
          <a:solidFill>
            <a:srgbClr val="001C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7" name="Picture 12" descr="Resultado de imagen de tinamica smartdata">
            <a:extLst>
              <a:ext uri="{FF2B5EF4-FFF2-40B4-BE49-F238E27FC236}">
                <a16:creationId xmlns:a16="http://schemas.microsoft.com/office/drawing/2014/main" id="{0E30493B-7B89-4E10-B4A4-D4D751AB5B1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04352" y="6468297"/>
            <a:ext cx="1487648" cy="3897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237243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B55B743-89E9-4B83-BC11-BBF817AF42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2317CE6-AB63-403B-BE2C-2B9BA961B0D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15260D9B-5055-4A75-9946-416DE8ED94E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AF87A8D2-C055-4F16-A06D-FA801A1FE4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119D3F-0F06-48B5-A311-F7380CC22BDC}" type="datetimeFigureOut">
              <a:rPr lang="en-US" smtClean="0"/>
              <a:t>5/10/2021</a:t>
            </a:fld>
            <a:endParaRPr lang="en-US" dirty="0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C3DBA382-54E0-4F41-90E1-7EBBAA673C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CDBF867A-BF0E-4457-A80D-B237341191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200090-CC4D-4F85-9A86-CD9206B93EE7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53503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4202847-D31A-4499-9135-AF5C8616CE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C86B9EFB-E39B-4B00-A2CC-90CED0E9883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35D6B712-5D15-4CE4-8669-CC24D74F0A1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02A23809-7684-4D31-870E-E0A362A599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119D3F-0F06-48B5-A311-F7380CC22BDC}" type="datetimeFigureOut">
              <a:rPr lang="en-US" smtClean="0"/>
              <a:t>5/10/2021</a:t>
            </a:fld>
            <a:endParaRPr lang="en-US" dirty="0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05225D9E-08B4-4A4C-8BAF-E50B472904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C9C73CE4-81EF-49CB-A555-DBD9A747AB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200090-CC4D-4F85-9A86-CD9206B93EE7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46782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E5946C76-FAA1-4800-B578-F7870D82D4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 dirty="0"/>
              <a:t>Haga clic para modificar el estilo de título del patrón</a:t>
            </a:r>
            <a:endParaRPr lang="en-US" dirty="0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FC2F895F-0DD1-4245-A0B8-F9D610F0B01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75C1DF2B-B587-467D-BE00-BF0AC613E76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fld id="{15119D3F-0F06-48B5-A311-F7380CC22BDC}" type="datetimeFigureOut">
              <a:rPr lang="en-US" smtClean="0"/>
              <a:pPr/>
              <a:t>5/10/2021</a:t>
            </a:fld>
            <a:endParaRPr lang="en-US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5E45B4BC-7F4C-4522-9CD8-4FFA520D9A1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62FE3F12-1A1B-4547-905C-0D3F57549F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fld id="{3D200090-CC4D-4F85-9A86-CD9206B93EE7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8" name="Triángulo isósceles 7">
            <a:extLst>
              <a:ext uri="{FF2B5EF4-FFF2-40B4-BE49-F238E27FC236}">
                <a16:creationId xmlns:a16="http://schemas.microsoft.com/office/drawing/2014/main" id="{366D66E1-8730-4B6A-BBED-4870A332F5E0}"/>
              </a:ext>
            </a:extLst>
          </p:cNvPr>
          <p:cNvSpPr/>
          <p:nvPr userDrawn="1"/>
        </p:nvSpPr>
        <p:spPr>
          <a:xfrm flipV="1">
            <a:off x="0" y="-3"/>
            <a:ext cx="12113703" cy="681040"/>
          </a:xfrm>
          <a:prstGeom prst="triangle">
            <a:avLst>
              <a:gd name="adj" fmla="val 0"/>
            </a:avLst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7" name="Triángulo isósceles 6">
            <a:extLst>
              <a:ext uri="{FF2B5EF4-FFF2-40B4-BE49-F238E27FC236}">
                <a16:creationId xmlns:a16="http://schemas.microsoft.com/office/drawing/2014/main" id="{C1E68034-5B7F-4294-9EB8-93D0AFB4E5C5}"/>
              </a:ext>
            </a:extLst>
          </p:cNvPr>
          <p:cNvSpPr/>
          <p:nvPr userDrawn="1"/>
        </p:nvSpPr>
        <p:spPr>
          <a:xfrm flipV="1">
            <a:off x="0" y="0"/>
            <a:ext cx="8931564" cy="1128338"/>
          </a:xfrm>
          <a:prstGeom prst="triangle">
            <a:avLst>
              <a:gd name="adj" fmla="val 0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9" name="Triángulo isósceles 8">
            <a:extLst>
              <a:ext uri="{FF2B5EF4-FFF2-40B4-BE49-F238E27FC236}">
                <a16:creationId xmlns:a16="http://schemas.microsoft.com/office/drawing/2014/main" id="{32B6BBF2-2313-45BF-BB5B-E78049493699}"/>
              </a:ext>
            </a:extLst>
          </p:cNvPr>
          <p:cNvSpPr/>
          <p:nvPr userDrawn="1"/>
        </p:nvSpPr>
        <p:spPr>
          <a:xfrm flipV="1">
            <a:off x="0" y="-1"/>
            <a:ext cx="7340367" cy="1128340"/>
          </a:xfrm>
          <a:prstGeom prst="triangle">
            <a:avLst>
              <a:gd name="adj" fmla="val 0"/>
            </a:avLst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10" name="Rectángulo 9">
            <a:extLst>
              <a:ext uri="{FF2B5EF4-FFF2-40B4-BE49-F238E27FC236}">
                <a16:creationId xmlns:a16="http://schemas.microsoft.com/office/drawing/2014/main" id="{1A247FCB-9B82-488A-A0E6-FB116EE57815}"/>
              </a:ext>
            </a:extLst>
          </p:cNvPr>
          <p:cNvSpPr/>
          <p:nvPr userDrawn="1"/>
        </p:nvSpPr>
        <p:spPr>
          <a:xfrm>
            <a:off x="0" y="-3"/>
            <a:ext cx="12192000" cy="132556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1" name="Picture 12" descr="Resultado de imagen de tinamica smartdata">
            <a:extLst>
              <a:ext uri="{FF2B5EF4-FFF2-40B4-BE49-F238E27FC236}">
                <a16:creationId xmlns:a16="http://schemas.microsoft.com/office/drawing/2014/main" id="{EEDFDEA7-F6F0-4141-9395-3790BC7A22C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04352" y="6407782"/>
            <a:ext cx="1487648" cy="3897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849187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Century Gothic" panose="020B0502020202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uadroTexto 7">
            <a:extLst>
              <a:ext uri="{FF2B5EF4-FFF2-40B4-BE49-F238E27FC236}">
                <a16:creationId xmlns:a16="http://schemas.microsoft.com/office/drawing/2014/main" id="{30461656-2286-401F-8905-35CE07B66D96}"/>
              </a:ext>
            </a:extLst>
          </p:cNvPr>
          <p:cNvSpPr txBox="1"/>
          <p:nvPr/>
        </p:nvSpPr>
        <p:spPr>
          <a:xfrm>
            <a:off x="1988792" y="2613392"/>
            <a:ext cx="8214416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800" dirty="0"/>
              <a:t>Time Series Lab</a:t>
            </a:r>
          </a:p>
          <a:p>
            <a:pPr algn="ctr"/>
            <a:endParaRPr lang="en-US" sz="2000" dirty="0"/>
          </a:p>
          <a:p>
            <a:pPr algn="ctr"/>
            <a:r>
              <a:rPr lang="es-ES" sz="2800" dirty="0"/>
              <a:t>Modelado Avanzado de Series Temporales</a:t>
            </a:r>
          </a:p>
          <a:p>
            <a:pPr algn="ctr"/>
            <a:endParaRPr lang="es-ES" sz="2800" dirty="0"/>
          </a:p>
          <a:p>
            <a:pPr algn="ctr"/>
            <a:r>
              <a:rPr lang="es-ES" sz="2000" dirty="0"/>
              <a:t>Ignacio José Valenzuela</a:t>
            </a:r>
            <a:endParaRPr lang="es-ES" sz="2800" dirty="0"/>
          </a:p>
        </p:txBody>
      </p:sp>
      <p:sp>
        <p:nvSpPr>
          <p:cNvPr id="3" name="Triángulo isósceles 2">
            <a:extLst>
              <a:ext uri="{FF2B5EF4-FFF2-40B4-BE49-F238E27FC236}">
                <a16:creationId xmlns:a16="http://schemas.microsoft.com/office/drawing/2014/main" id="{A03CDD49-E59E-4710-9513-5F73C49015F4}"/>
              </a:ext>
            </a:extLst>
          </p:cNvPr>
          <p:cNvSpPr/>
          <p:nvPr/>
        </p:nvSpPr>
        <p:spPr>
          <a:xfrm flipV="1">
            <a:off x="0" y="-3"/>
            <a:ext cx="12113703" cy="681040"/>
          </a:xfrm>
          <a:prstGeom prst="triangle">
            <a:avLst>
              <a:gd name="adj" fmla="val 0"/>
            </a:avLst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4" name="Triángulo isósceles 3">
            <a:extLst>
              <a:ext uri="{FF2B5EF4-FFF2-40B4-BE49-F238E27FC236}">
                <a16:creationId xmlns:a16="http://schemas.microsoft.com/office/drawing/2014/main" id="{A18FF4FE-4E7C-42DF-99D7-D9366B375FE4}"/>
              </a:ext>
            </a:extLst>
          </p:cNvPr>
          <p:cNvSpPr/>
          <p:nvPr/>
        </p:nvSpPr>
        <p:spPr>
          <a:xfrm flipV="1">
            <a:off x="0" y="0"/>
            <a:ext cx="8931564" cy="1128338"/>
          </a:xfrm>
          <a:prstGeom prst="triangle">
            <a:avLst>
              <a:gd name="adj" fmla="val 0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5" name="Triángulo isósceles 4">
            <a:extLst>
              <a:ext uri="{FF2B5EF4-FFF2-40B4-BE49-F238E27FC236}">
                <a16:creationId xmlns:a16="http://schemas.microsoft.com/office/drawing/2014/main" id="{ED16F8F4-8F8A-4AAF-B5EF-CC0767AAECE9}"/>
              </a:ext>
            </a:extLst>
          </p:cNvPr>
          <p:cNvSpPr/>
          <p:nvPr/>
        </p:nvSpPr>
        <p:spPr>
          <a:xfrm flipV="1">
            <a:off x="0" y="-1"/>
            <a:ext cx="7340367" cy="1128340"/>
          </a:xfrm>
          <a:prstGeom prst="triangle">
            <a:avLst>
              <a:gd name="adj" fmla="val 0"/>
            </a:avLst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0033714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uadroTexto 3">
            <a:extLst>
              <a:ext uri="{FF2B5EF4-FFF2-40B4-BE49-F238E27FC236}">
                <a16:creationId xmlns:a16="http://schemas.microsoft.com/office/drawing/2014/main" id="{6AB09408-F880-4163-89D5-98CB4D218EDF}"/>
              </a:ext>
            </a:extLst>
          </p:cNvPr>
          <p:cNvSpPr txBox="1"/>
          <p:nvPr/>
        </p:nvSpPr>
        <p:spPr>
          <a:xfrm>
            <a:off x="5729681" y="304358"/>
            <a:ext cx="6579765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3200" dirty="0"/>
              <a:t>Modelado de Series Temporales con BSTS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EC448B10-53C9-463B-BD6D-C87F75C38588}"/>
              </a:ext>
            </a:extLst>
          </p:cNvPr>
          <p:cNvSpPr txBox="1"/>
          <p:nvPr/>
        </p:nvSpPr>
        <p:spPr>
          <a:xfrm>
            <a:off x="0" y="1420094"/>
            <a:ext cx="473978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/>
            </a:lvl1pPr>
          </a:lstStyle>
          <a:p>
            <a:r>
              <a:rPr lang="es-ES" dirty="0"/>
              <a:t>Estadística Bayesiana en 30’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7FE93D12-C2F9-4F82-8BB2-7209F3A548E3}"/>
              </a:ext>
            </a:extLst>
          </p:cNvPr>
          <p:cNvSpPr txBox="1"/>
          <p:nvPr/>
        </p:nvSpPr>
        <p:spPr>
          <a:xfrm>
            <a:off x="343948" y="2670054"/>
            <a:ext cx="1106507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/>
            </a:lvl1pPr>
          </a:lstStyle>
          <a:p>
            <a:r>
              <a:rPr lang="es-ES" sz="1800" dirty="0"/>
              <a:t>La estadística bayesiana incluye conocimientos </a:t>
            </a:r>
            <a:r>
              <a:rPr lang="es-ES" sz="1800" b="1" dirty="0"/>
              <a:t>previos</a:t>
            </a:r>
            <a:r>
              <a:rPr lang="es-ES" sz="1800" dirty="0"/>
              <a:t> sobre las probabilidades antes de realizar un experimento y “actualiza” las probabilidades </a:t>
            </a:r>
            <a:r>
              <a:rPr lang="es-ES" sz="1800" b="1" dirty="0"/>
              <a:t>posteriores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7" name="CuadroTexto 6">
                <a:extLst>
                  <a:ext uri="{FF2B5EF4-FFF2-40B4-BE49-F238E27FC236}">
                    <a16:creationId xmlns:a16="http://schemas.microsoft.com/office/drawing/2014/main" id="{691BD7D3-2C60-4DF9-964A-0B17E39C02C3}"/>
                  </a:ext>
                </a:extLst>
              </p:cNvPr>
              <p:cNvSpPr txBox="1"/>
              <p:nvPr/>
            </p:nvSpPr>
            <p:spPr>
              <a:xfrm>
                <a:off x="2369891" y="3602013"/>
                <a:ext cx="7415868" cy="6790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algn="ctr">
                  <a:defRPr sz="2400"/>
                </a:lvl1pPr>
              </a:lstStyle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s-ES" sz="1800" b="0" i="1" smtClean="0">
                          <a:latin typeface="Cambria Math" panose="02040503050406030204" pitchFamily="18" charset="0"/>
                        </a:rPr>
                        <m:t>𝑃</m:t>
                      </m:r>
                      <m:d>
                        <m:dPr>
                          <m:ctrlPr>
                            <a:rPr lang="es-ES" sz="18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s-ES" sz="1800" b="0" i="1" smtClean="0">
                              <a:latin typeface="Cambria Math" panose="02040503050406030204" pitchFamily="18" charset="0"/>
                            </a:rPr>
                            <m:t>𝐴</m:t>
                          </m:r>
                        </m:e>
                        <m:e>
                          <m:r>
                            <a:rPr lang="es-ES" sz="1800" b="0" i="1" smtClean="0">
                              <a:latin typeface="Cambria Math" panose="02040503050406030204" pitchFamily="18" charset="0"/>
                            </a:rPr>
                            <m:t>𝐵</m:t>
                          </m:r>
                        </m:e>
                      </m:d>
                      <m:r>
                        <a:rPr lang="es-ES" sz="1800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s-ES" sz="18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s-ES" sz="1800" i="1">
                              <a:latin typeface="Cambria Math" panose="02040503050406030204" pitchFamily="18" charset="0"/>
                            </a:rPr>
                            <m:t>𝑃</m:t>
                          </m:r>
                          <m:d>
                            <m:dPr>
                              <m:ctrlPr>
                                <a:rPr lang="es-ES" sz="18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s-ES" sz="1800" b="0" i="1" smtClean="0">
                                  <a:latin typeface="Cambria Math" panose="02040503050406030204" pitchFamily="18" charset="0"/>
                                </a:rPr>
                                <m:t>𝐵</m:t>
                              </m:r>
                              <m:r>
                                <a:rPr lang="es-ES" sz="1800" b="0" i="1" smtClean="0">
                                  <a:latin typeface="Cambria Math" panose="02040503050406030204" pitchFamily="18" charset="0"/>
                                </a:rPr>
                                <m:t>|</m:t>
                              </m:r>
                              <m:r>
                                <a:rPr lang="es-ES" sz="1800" b="0" i="1" smtClean="0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</m:e>
                          </m:d>
                          <m:r>
                            <a:rPr lang="es-ES" sz="1800" i="1">
                              <a:latin typeface="Cambria Math" panose="02040503050406030204" pitchFamily="18" charset="0"/>
                            </a:rPr>
                            <m:t>𝑃</m:t>
                          </m:r>
                          <m:r>
                            <a:rPr lang="es-ES" sz="1800" i="1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es-ES" sz="1800" b="0" i="1" smtClean="0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es-ES" sz="1800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s-ES" sz="1800" b="0" i="1" smtClean="0">
                              <a:latin typeface="Cambria Math" panose="02040503050406030204" pitchFamily="18" charset="0"/>
                            </a:rPr>
                            <m:t>𝑃</m:t>
                          </m:r>
                          <m:d>
                            <m:dPr>
                              <m:ctrlPr>
                                <a:rPr lang="es-ES" sz="18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s-ES" sz="1800" b="0" i="1" smtClean="0">
                                  <a:latin typeface="Cambria Math" panose="02040503050406030204" pitchFamily="18" charset="0"/>
                                </a:rPr>
                                <m:t>𝐵</m:t>
                              </m:r>
                            </m:e>
                            <m:e>
                              <m:r>
                                <a:rPr lang="es-ES" sz="1800" b="0" i="1" smtClean="0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</m:e>
                          </m:d>
                          <m:r>
                            <a:rPr lang="es-ES" sz="1800" b="0" i="1" smtClean="0">
                              <a:latin typeface="Cambria Math" panose="02040503050406030204" pitchFamily="18" charset="0"/>
                            </a:rPr>
                            <m:t>𝑃</m:t>
                          </m:r>
                          <m:d>
                            <m:dPr>
                              <m:ctrlPr>
                                <a:rPr lang="es-ES" sz="18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s-ES" sz="1800" b="0" i="1" smtClean="0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</m:e>
                          </m:d>
                          <m:r>
                            <a:rPr lang="es-ES" sz="18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es-ES" sz="1800" b="0" i="1" smtClean="0">
                              <a:latin typeface="Cambria Math" panose="02040503050406030204" pitchFamily="18" charset="0"/>
                            </a:rPr>
                            <m:t>𝑃</m:t>
                          </m:r>
                          <m:d>
                            <m:dPr>
                              <m:ctrlPr>
                                <a:rPr lang="es-ES" sz="18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s-ES" sz="1800" b="0" i="1" smtClean="0">
                                  <a:latin typeface="Cambria Math" panose="02040503050406030204" pitchFamily="18" charset="0"/>
                                </a:rPr>
                                <m:t>𝐵</m:t>
                              </m:r>
                            </m:e>
                            <m:e>
                              <m:sSub>
                                <m:sSubPr>
                                  <m:ctrlPr>
                                    <a:rPr lang="es-ES" sz="18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s-ES" sz="1800" i="1"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</m:e>
                                <m:sub>
                                  <m:r>
                                    <a:rPr lang="es-ES" sz="1800" b="0" i="1" smtClean="0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</m:sub>
                              </m:sSub>
                            </m:e>
                          </m:d>
                          <m:r>
                            <a:rPr lang="es-ES" sz="1800" b="0" i="1" smtClean="0">
                              <a:latin typeface="Cambria Math" panose="02040503050406030204" pitchFamily="18" charset="0"/>
                            </a:rPr>
                            <m:t>𝑃</m:t>
                          </m:r>
                          <m:r>
                            <a:rPr lang="es-ES" sz="1800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>
                            <m:sSubPr>
                              <m:ctrlPr>
                                <a:rPr lang="es-ES" sz="18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s-ES" sz="18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</m:e>
                            <m:sub>
                              <m:r>
                                <a:rPr lang="es-ES" sz="1800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</m:sub>
                          </m:sSub>
                          <m:r>
                            <a:rPr lang="es-ES" sz="1800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den>
                      </m:f>
                    </m:oMath>
                  </m:oMathPara>
                </a14:m>
                <a:endParaRPr lang="es-ES" sz="1800" dirty="0"/>
              </a:p>
            </p:txBody>
          </p:sp>
        </mc:Choice>
        <mc:Fallback>
          <p:sp>
            <p:nvSpPr>
              <p:cNvPr id="7" name="CuadroTexto 6">
                <a:extLst>
                  <a:ext uri="{FF2B5EF4-FFF2-40B4-BE49-F238E27FC236}">
                    <a16:creationId xmlns:a16="http://schemas.microsoft.com/office/drawing/2014/main" id="{691BD7D3-2C60-4DF9-964A-0B17E39C02C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69891" y="3602013"/>
                <a:ext cx="7415868" cy="679032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0" name="Imagen 9">
            <a:extLst>
              <a:ext uri="{FF2B5EF4-FFF2-40B4-BE49-F238E27FC236}">
                <a16:creationId xmlns:a16="http://schemas.microsoft.com/office/drawing/2014/main" id="{41F2927F-38CB-4859-A1DA-C2F8B429B14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277" y="4675459"/>
            <a:ext cx="2855001" cy="1693517"/>
          </a:xfrm>
          <a:prstGeom prst="rect">
            <a:avLst/>
          </a:prstGeom>
        </p:spPr>
      </p:pic>
      <p:sp>
        <p:nvSpPr>
          <p:cNvPr id="13" name="CuadroTexto 12">
            <a:extLst>
              <a:ext uri="{FF2B5EF4-FFF2-40B4-BE49-F238E27FC236}">
                <a16:creationId xmlns:a16="http://schemas.microsoft.com/office/drawing/2014/main" id="{BAC40F2E-E1E1-4D91-A52B-7705CF4B3CF2}"/>
              </a:ext>
            </a:extLst>
          </p:cNvPr>
          <p:cNvSpPr txBox="1"/>
          <p:nvPr/>
        </p:nvSpPr>
        <p:spPr>
          <a:xfrm>
            <a:off x="109055" y="6368976"/>
            <a:ext cx="907968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https://www.youtube.com/watch?v=HZGCoVF3YvM&amp;ab_channel=3Blue1Brown</a:t>
            </a: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3E7A8879-76E2-4405-B413-BFA9121AB8E5}"/>
              </a:ext>
            </a:extLst>
          </p:cNvPr>
          <p:cNvSpPr txBox="1"/>
          <p:nvPr/>
        </p:nvSpPr>
        <p:spPr>
          <a:xfrm>
            <a:off x="2940287" y="5404316"/>
            <a:ext cx="6079276" cy="923330"/>
          </a:xfrm>
          <a:prstGeom prst="rect">
            <a:avLst/>
          </a:prstGeom>
          <a:noFill/>
          <a:ln>
            <a:solidFill>
              <a:srgbClr val="001C54"/>
            </a:solidFill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/>
            </a:lvl1pPr>
          </a:lstStyle>
          <a:p>
            <a:r>
              <a:rPr lang="es-ES" sz="1800" dirty="0"/>
              <a:t>Podéis entender la intuición de la estadística bayesiana en este vídeo y por qué se asemeja más a cómo pensamos que la estadística tradicional</a:t>
            </a:r>
            <a:endParaRPr lang="es-ES" sz="1800" b="1" dirty="0"/>
          </a:p>
        </p:txBody>
      </p:sp>
    </p:spTree>
    <p:extLst>
      <p:ext uri="{BB962C8B-B14F-4D97-AF65-F5344CB8AC3E}">
        <p14:creationId xmlns:p14="http://schemas.microsoft.com/office/powerpoint/2010/main" val="25210699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4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lipse 14">
            <a:extLst>
              <a:ext uri="{FF2B5EF4-FFF2-40B4-BE49-F238E27FC236}">
                <a16:creationId xmlns:a16="http://schemas.microsoft.com/office/drawing/2014/main" id="{30D737A4-D468-4B5E-9DDF-359743F6E30B}"/>
              </a:ext>
            </a:extLst>
          </p:cNvPr>
          <p:cNvSpPr/>
          <p:nvPr/>
        </p:nvSpPr>
        <p:spPr>
          <a:xfrm>
            <a:off x="570451" y="2625923"/>
            <a:ext cx="4588778" cy="4232077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6" name="Elipse 15">
            <a:extLst>
              <a:ext uri="{FF2B5EF4-FFF2-40B4-BE49-F238E27FC236}">
                <a16:creationId xmlns:a16="http://schemas.microsoft.com/office/drawing/2014/main" id="{6E0808BD-B975-41A1-8062-C5D2C8FDD9BF}"/>
              </a:ext>
            </a:extLst>
          </p:cNvPr>
          <p:cNvSpPr/>
          <p:nvPr/>
        </p:nvSpPr>
        <p:spPr>
          <a:xfrm>
            <a:off x="6369340" y="2625923"/>
            <a:ext cx="4588778" cy="4232077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538AB343-64A2-4882-AC9D-7A821F1956FD}"/>
              </a:ext>
            </a:extLst>
          </p:cNvPr>
          <p:cNvSpPr txBox="1"/>
          <p:nvPr/>
        </p:nvSpPr>
        <p:spPr>
          <a:xfrm>
            <a:off x="-385895" y="1420094"/>
            <a:ext cx="473978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/>
            </a:lvl1pPr>
          </a:lstStyle>
          <a:p>
            <a:r>
              <a:rPr lang="es-ES" dirty="0"/>
              <a:t>Modelado Bayesiano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1CD41FAC-C4E7-4C6C-8B7F-696AF2B1137F}"/>
              </a:ext>
            </a:extLst>
          </p:cNvPr>
          <p:cNvSpPr txBox="1"/>
          <p:nvPr/>
        </p:nvSpPr>
        <p:spPr>
          <a:xfrm>
            <a:off x="5729681" y="304358"/>
            <a:ext cx="6579765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3200" dirty="0"/>
              <a:t>Modelado de Series Temporales con BSTS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17B62B27-F4C7-468D-95FD-D0ECDF463D25}"/>
              </a:ext>
            </a:extLst>
          </p:cNvPr>
          <p:cNvSpPr txBox="1"/>
          <p:nvPr/>
        </p:nvSpPr>
        <p:spPr>
          <a:xfrm>
            <a:off x="327168" y="1955903"/>
            <a:ext cx="106204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/>
            </a:lvl1pPr>
          </a:lstStyle>
          <a:p>
            <a:pPr algn="l"/>
            <a:r>
              <a:rPr lang="es-ES" sz="1600" dirty="0"/>
              <a:t>¿Por qué podríamos necesitar un modelo bayesiano en Series Temporales?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D6B5997A-A533-4395-A3CB-8CFB8B3906F5}"/>
              </a:ext>
            </a:extLst>
          </p:cNvPr>
          <p:cNvSpPr txBox="1"/>
          <p:nvPr/>
        </p:nvSpPr>
        <p:spPr>
          <a:xfrm>
            <a:off x="1372646" y="3207339"/>
            <a:ext cx="292775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/>
            </a:lvl1pPr>
          </a:lstStyle>
          <a:p>
            <a:pPr algn="l"/>
            <a:r>
              <a:rPr lang="es-ES" sz="2000" b="1" dirty="0">
                <a:solidFill>
                  <a:schemeClr val="bg1"/>
                </a:solidFill>
              </a:rPr>
              <a:t>Modelos estocásticos</a:t>
            </a: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03B6FF64-E6B1-4DC4-A481-754FB6C2FE0D}"/>
              </a:ext>
            </a:extLst>
          </p:cNvPr>
          <p:cNvSpPr txBox="1"/>
          <p:nvPr/>
        </p:nvSpPr>
        <p:spPr>
          <a:xfrm>
            <a:off x="7527756" y="3207339"/>
            <a:ext cx="338842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/>
            </a:lvl1pPr>
          </a:lstStyle>
          <a:p>
            <a:pPr algn="l"/>
            <a:r>
              <a:rPr lang="es-ES" sz="2000" b="1" dirty="0">
                <a:solidFill>
                  <a:schemeClr val="bg1"/>
                </a:solidFill>
              </a:rPr>
              <a:t>Modelos Bayesianos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7D91E31C-86CC-43C4-9FB3-B5C398D86FAC}"/>
              </a:ext>
            </a:extLst>
          </p:cNvPr>
          <p:cNvSpPr txBox="1"/>
          <p:nvPr/>
        </p:nvSpPr>
        <p:spPr>
          <a:xfrm>
            <a:off x="2240906" y="4019150"/>
            <a:ext cx="11912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/>
            </a:lvl1pPr>
          </a:lstStyle>
          <a:p>
            <a:pPr algn="l"/>
            <a:r>
              <a:rPr lang="es-ES" sz="1800" b="1" dirty="0">
                <a:solidFill>
                  <a:schemeClr val="bg1"/>
                </a:solidFill>
              </a:rPr>
              <a:t>Estáticos</a:t>
            </a: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0BD803E2-6BC2-4840-BDD5-3A0404ECEE5E}"/>
              </a:ext>
            </a:extLst>
          </p:cNvPr>
          <p:cNvSpPr txBox="1"/>
          <p:nvPr/>
        </p:nvSpPr>
        <p:spPr>
          <a:xfrm>
            <a:off x="1243667" y="4580942"/>
            <a:ext cx="387361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/>
            </a:lvl1pPr>
          </a:lstStyle>
          <a:p>
            <a:pPr algn="l"/>
            <a:r>
              <a:rPr lang="es-ES" sz="1800" b="1" dirty="0">
                <a:solidFill>
                  <a:schemeClr val="bg1"/>
                </a:solidFill>
              </a:rPr>
              <a:t>No incluyen conocimiento previos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3C485643-1F01-4992-8993-937CFE0E608E}"/>
              </a:ext>
            </a:extLst>
          </p:cNvPr>
          <p:cNvSpPr txBox="1"/>
          <p:nvPr/>
        </p:nvSpPr>
        <p:spPr>
          <a:xfrm>
            <a:off x="1003532" y="5419733"/>
            <a:ext cx="37226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/>
            </a:lvl1pPr>
          </a:lstStyle>
          <a:p>
            <a:pPr algn="l"/>
            <a:r>
              <a:rPr lang="es-ES" sz="1800" b="1" dirty="0">
                <a:solidFill>
                  <a:schemeClr val="bg1"/>
                </a:solidFill>
              </a:rPr>
              <a:t>Las importancias no cambian</a:t>
            </a: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31911F83-58F6-499C-93E8-C0682E328D58}"/>
              </a:ext>
            </a:extLst>
          </p:cNvPr>
          <p:cNvSpPr txBox="1"/>
          <p:nvPr/>
        </p:nvSpPr>
        <p:spPr>
          <a:xfrm>
            <a:off x="8063569" y="4049928"/>
            <a:ext cx="13939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/>
            </a:lvl1pPr>
          </a:lstStyle>
          <a:p>
            <a:pPr algn="l"/>
            <a:r>
              <a:rPr lang="es-ES" sz="1800" b="1" dirty="0">
                <a:solidFill>
                  <a:schemeClr val="bg1"/>
                </a:solidFill>
              </a:rPr>
              <a:t>Dinámicos</a:t>
            </a:r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839F85E6-2A7B-4DA8-B234-58E16110D9E9}"/>
              </a:ext>
            </a:extLst>
          </p:cNvPr>
          <p:cNvSpPr txBox="1"/>
          <p:nvPr/>
        </p:nvSpPr>
        <p:spPr>
          <a:xfrm>
            <a:off x="7022632" y="4559408"/>
            <a:ext cx="39938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/>
            </a:lvl1pPr>
          </a:lstStyle>
          <a:p>
            <a:pPr algn="l"/>
            <a:r>
              <a:rPr lang="es-ES" sz="1800" b="1" dirty="0">
                <a:solidFill>
                  <a:schemeClr val="bg1"/>
                </a:solidFill>
              </a:rPr>
              <a:t>Puedes aportar conocimientos anteriores al modelo (prior)</a:t>
            </a: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8E8FB092-DA18-4CE5-B9A9-75C4F12B01AD}"/>
              </a:ext>
            </a:extLst>
          </p:cNvPr>
          <p:cNvSpPr txBox="1"/>
          <p:nvPr/>
        </p:nvSpPr>
        <p:spPr>
          <a:xfrm>
            <a:off x="6763623" y="5312011"/>
            <a:ext cx="39938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/>
            </a:lvl1pPr>
          </a:lstStyle>
          <a:p>
            <a:pPr algn="l"/>
            <a:r>
              <a:rPr lang="es-ES" sz="1800" b="1" dirty="0">
                <a:solidFill>
                  <a:schemeClr val="bg1"/>
                </a:solidFill>
              </a:rPr>
              <a:t>Podemos dar “Valores Esperados”</a:t>
            </a:r>
          </a:p>
        </p:txBody>
      </p:sp>
    </p:spTree>
    <p:extLst>
      <p:ext uri="{BB962C8B-B14F-4D97-AF65-F5344CB8AC3E}">
        <p14:creationId xmlns:p14="http://schemas.microsoft.com/office/powerpoint/2010/main" val="387833970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CE87AC-8349-4D22-8C93-39B5BC3DEEB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ES" dirty="0" err="1"/>
              <a:t>Slab</a:t>
            </a:r>
            <a:r>
              <a:rPr lang="es-ES" dirty="0"/>
              <a:t> and </a:t>
            </a:r>
            <a:r>
              <a:rPr lang="es-ES" dirty="0" err="1"/>
              <a:t>spike</a:t>
            </a:r>
            <a:endParaRPr lang="es-ES" dirty="0"/>
          </a:p>
          <a:p>
            <a:r>
              <a:rPr lang="es-ES" dirty="0"/>
              <a:t>Prior </a:t>
            </a:r>
          </a:p>
          <a:p>
            <a:r>
              <a:rPr lang="es-ES" dirty="0"/>
              <a:t>Posterior</a:t>
            </a:r>
          </a:p>
          <a:p>
            <a:endParaRPr lang="en-US" dirty="0"/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B2D9480D-6D5B-4489-9452-7E8491BEFACF}"/>
              </a:ext>
            </a:extLst>
          </p:cNvPr>
          <p:cNvSpPr txBox="1"/>
          <p:nvPr/>
        </p:nvSpPr>
        <p:spPr>
          <a:xfrm>
            <a:off x="5729681" y="304358"/>
            <a:ext cx="6579765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3200" dirty="0"/>
              <a:t>Modelado de Series Temporales con BSTS</a:t>
            </a:r>
          </a:p>
        </p:txBody>
      </p:sp>
    </p:spTree>
    <p:extLst>
      <p:ext uri="{BB962C8B-B14F-4D97-AF65-F5344CB8AC3E}">
        <p14:creationId xmlns:p14="http://schemas.microsoft.com/office/powerpoint/2010/main" val="378364338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id="{6CD4C87E-B221-45CE-93DC-BD05927016DF}"/>
              </a:ext>
            </a:extLst>
          </p:cNvPr>
          <p:cNvSpPr/>
          <p:nvPr/>
        </p:nvSpPr>
        <p:spPr>
          <a:xfrm>
            <a:off x="0" y="1371600"/>
            <a:ext cx="12192000" cy="54864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5" name="Picture 12" descr="Resultado de imagen de tinamica smartdata">
            <a:extLst>
              <a:ext uri="{FF2B5EF4-FFF2-40B4-BE49-F238E27FC236}">
                <a16:creationId xmlns:a16="http://schemas.microsoft.com/office/drawing/2014/main" id="{31F64E77-1B5E-4538-9E84-2AC91F7964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0628" y="3058230"/>
            <a:ext cx="2830743" cy="7415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riángulo isósceles 5">
            <a:extLst>
              <a:ext uri="{FF2B5EF4-FFF2-40B4-BE49-F238E27FC236}">
                <a16:creationId xmlns:a16="http://schemas.microsoft.com/office/drawing/2014/main" id="{0AC0C27F-AB2A-4BF4-9C28-F1C0DD84E3BF}"/>
              </a:ext>
            </a:extLst>
          </p:cNvPr>
          <p:cNvSpPr/>
          <p:nvPr/>
        </p:nvSpPr>
        <p:spPr>
          <a:xfrm flipV="1">
            <a:off x="0" y="-3"/>
            <a:ext cx="12113703" cy="681040"/>
          </a:xfrm>
          <a:prstGeom prst="triangle">
            <a:avLst>
              <a:gd name="adj" fmla="val 0"/>
            </a:avLst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7" name="Triángulo isósceles 6">
            <a:extLst>
              <a:ext uri="{FF2B5EF4-FFF2-40B4-BE49-F238E27FC236}">
                <a16:creationId xmlns:a16="http://schemas.microsoft.com/office/drawing/2014/main" id="{A2BB0CA5-E4F3-40CA-9E10-D270C343C5E0}"/>
              </a:ext>
            </a:extLst>
          </p:cNvPr>
          <p:cNvSpPr/>
          <p:nvPr/>
        </p:nvSpPr>
        <p:spPr>
          <a:xfrm flipV="1">
            <a:off x="0" y="0"/>
            <a:ext cx="8931564" cy="1128338"/>
          </a:xfrm>
          <a:prstGeom prst="triangle">
            <a:avLst>
              <a:gd name="adj" fmla="val 0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8" name="Triángulo isósceles 7">
            <a:extLst>
              <a:ext uri="{FF2B5EF4-FFF2-40B4-BE49-F238E27FC236}">
                <a16:creationId xmlns:a16="http://schemas.microsoft.com/office/drawing/2014/main" id="{BEFEAB9D-1D48-4130-B2EC-8FFB7DD59D03}"/>
              </a:ext>
            </a:extLst>
          </p:cNvPr>
          <p:cNvSpPr/>
          <p:nvPr/>
        </p:nvSpPr>
        <p:spPr>
          <a:xfrm flipV="1">
            <a:off x="0" y="-1"/>
            <a:ext cx="7340367" cy="1128340"/>
          </a:xfrm>
          <a:prstGeom prst="triangle">
            <a:avLst>
              <a:gd name="adj" fmla="val 0"/>
            </a:avLst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314455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CuadroTexto 21">
            <a:extLst>
              <a:ext uri="{FF2B5EF4-FFF2-40B4-BE49-F238E27FC236}">
                <a16:creationId xmlns:a16="http://schemas.microsoft.com/office/drawing/2014/main" id="{5C80F593-DD2F-4F38-8160-0B4B1E5E79C5}"/>
              </a:ext>
            </a:extLst>
          </p:cNvPr>
          <p:cNvSpPr txBox="1"/>
          <p:nvPr/>
        </p:nvSpPr>
        <p:spPr>
          <a:xfrm>
            <a:off x="7222976" y="186661"/>
            <a:ext cx="510050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3200" dirty="0" err="1"/>
              <a:t>Outline</a:t>
            </a:r>
            <a:r>
              <a:rPr lang="es-ES" sz="3200" dirty="0"/>
              <a:t> del Laboratorio</a:t>
            </a:r>
            <a:endParaRPr lang="en-US" sz="2800" dirty="0"/>
          </a:p>
        </p:txBody>
      </p:sp>
      <p:sp>
        <p:nvSpPr>
          <p:cNvPr id="39" name="CuadroTexto 38">
            <a:extLst>
              <a:ext uri="{FF2B5EF4-FFF2-40B4-BE49-F238E27FC236}">
                <a16:creationId xmlns:a16="http://schemas.microsoft.com/office/drawing/2014/main" id="{B904A498-FAA0-4D1F-952A-8B5CDC3850AC}"/>
              </a:ext>
            </a:extLst>
          </p:cNvPr>
          <p:cNvSpPr txBox="1"/>
          <p:nvPr/>
        </p:nvSpPr>
        <p:spPr>
          <a:xfrm>
            <a:off x="69909" y="1690970"/>
            <a:ext cx="5834325" cy="29546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b="1" dirty="0"/>
              <a:t>Creación y A</a:t>
            </a:r>
            <a:r>
              <a:rPr lang="en-US" b="1" dirty="0"/>
              <a:t>nálisis de Series Temporales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US" sz="1400" dirty="0" err="1"/>
              <a:t>Descomposición</a:t>
            </a:r>
            <a:r>
              <a:rPr lang="en-US" sz="1400" dirty="0"/>
              <a:t> de Series</a:t>
            </a:r>
          </a:p>
          <a:p>
            <a:pPr marL="1200150" lvl="2" indent="-285750">
              <a:buFont typeface="Wingdings" panose="05000000000000000000" pitchFamily="2" charset="2"/>
              <a:buChar char="Ø"/>
            </a:pPr>
            <a:r>
              <a:rPr lang="en-US" sz="1400" dirty="0"/>
              <a:t>Tendencia</a:t>
            </a:r>
          </a:p>
          <a:p>
            <a:pPr marL="1200150" lvl="2" indent="-285750">
              <a:buFont typeface="Wingdings" panose="05000000000000000000" pitchFamily="2" charset="2"/>
              <a:buChar char="Ø"/>
            </a:pPr>
            <a:r>
              <a:rPr lang="en-US" sz="1400" dirty="0"/>
              <a:t>Estacionalidad</a:t>
            </a:r>
          </a:p>
          <a:p>
            <a:pPr marL="1200150" lvl="2" indent="-285750">
              <a:buFont typeface="Wingdings" panose="05000000000000000000" pitchFamily="2" charset="2"/>
              <a:buChar char="Ø"/>
            </a:pPr>
            <a:r>
              <a:rPr lang="en-US" sz="1400" dirty="0" err="1"/>
              <a:t>Ruido</a:t>
            </a:r>
            <a:endParaRPr lang="en-US" sz="1400" dirty="0"/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US" sz="1400" dirty="0" err="1"/>
              <a:t>Creación</a:t>
            </a:r>
            <a:r>
              <a:rPr lang="en-US" sz="1400" dirty="0"/>
              <a:t> de Series </a:t>
            </a:r>
            <a:r>
              <a:rPr lang="en-US" sz="1400" dirty="0" err="1"/>
              <a:t>Temporales</a:t>
            </a:r>
            <a:endParaRPr lang="en-US" sz="1400" dirty="0"/>
          </a:p>
          <a:p>
            <a:pPr marL="1200150" lvl="2" indent="-285750">
              <a:buFont typeface="Wingdings" panose="05000000000000000000" pitchFamily="2" charset="2"/>
              <a:buChar char="Ø"/>
            </a:pPr>
            <a:r>
              <a:rPr lang="en-US" sz="1400" dirty="0" err="1"/>
              <a:t>Elección</a:t>
            </a:r>
            <a:r>
              <a:rPr lang="en-US" sz="1400" dirty="0"/>
              <a:t> de </a:t>
            </a:r>
            <a:r>
              <a:rPr lang="en-US" sz="1400" dirty="0" err="1"/>
              <a:t>Resolución</a:t>
            </a:r>
            <a:r>
              <a:rPr lang="en-US" sz="1400" dirty="0"/>
              <a:t> temporal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US" sz="1400" dirty="0" err="1"/>
              <a:t>Transformación</a:t>
            </a:r>
            <a:r>
              <a:rPr lang="en-US" sz="1400" dirty="0"/>
              <a:t> de Series Temporales</a:t>
            </a:r>
          </a:p>
          <a:p>
            <a:pPr marL="1200150" lvl="2" indent="-285750">
              <a:buFont typeface="Wingdings" panose="05000000000000000000" pitchFamily="2" charset="2"/>
              <a:buChar char="Ø"/>
            </a:pPr>
            <a:r>
              <a:rPr lang="en-US" sz="1400" dirty="0"/>
              <a:t>Logaritmos, Diferencias y Normalizaciones</a:t>
            </a:r>
          </a:p>
          <a:p>
            <a:pPr marL="1200150" lvl="2" indent="-285750">
              <a:buFont typeface="Wingdings" panose="05000000000000000000" pitchFamily="2" charset="2"/>
              <a:buChar char="Ø"/>
            </a:pPr>
            <a:r>
              <a:rPr lang="en-US" sz="1400" dirty="0"/>
              <a:t>Medias </a:t>
            </a:r>
            <a:r>
              <a:rPr lang="en-US" sz="1400" noProof="1"/>
              <a:t>Móviles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US" sz="1400" dirty="0" err="1"/>
              <a:t>Análisis</a:t>
            </a:r>
            <a:r>
              <a:rPr lang="en-US" sz="1400" dirty="0"/>
              <a:t> de las Series</a:t>
            </a:r>
          </a:p>
          <a:p>
            <a:pPr marL="1200150" lvl="2" indent="-285750">
              <a:buFont typeface="Wingdings" panose="05000000000000000000" pitchFamily="2" charset="2"/>
              <a:buChar char="Ø"/>
            </a:pPr>
            <a:r>
              <a:rPr lang="en-US" sz="1400" dirty="0"/>
              <a:t>Tests (ACF &amp; PACF, ADF, </a:t>
            </a:r>
            <a:r>
              <a:rPr lang="en-US" sz="1400" dirty="0" err="1"/>
              <a:t>etc</a:t>
            </a:r>
            <a:r>
              <a:rPr lang="en-US" sz="1400" dirty="0"/>
              <a:t>…)</a:t>
            </a:r>
          </a:p>
          <a:p>
            <a:pPr marL="1200150" lvl="2" indent="-285750">
              <a:buFont typeface="Wingdings" panose="05000000000000000000" pitchFamily="2" charset="2"/>
              <a:buChar char="Ø"/>
            </a:pPr>
            <a:r>
              <a:rPr lang="en-US" sz="1400" dirty="0"/>
              <a:t>Cross Correlations</a:t>
            </a:r>
          </a:p>
        </p:txBody>
      </p:sp>
      <p:sp>
        <p:nvSpPr>
          <p:cNvPr id="40" name="CuadroTexto 39">
            <a:extLst>
              <a:ext uri="{FF2B5EF4-FFF2-40B4-BE49-F238E27FC236}">
                <a16:creationId xmlns:a16="http://schemas.microsoft.com/office/drawing/2014/main" id="{2476623C-B4DE-4C46-B31D-CABE88143AD3}"/>
              </a:ext>
            </a:extLst>
          </p:cNvPr>
          <p:cNvSpPr txBox="1"/>
          <p:nvPr/>
        </p:nvSpPr>
        <p:spPr>
          <a:xfrm>
            <a:off x="5744846" y="1690970"/>
            <a:ext cx="583432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b="1" dirty="0"/>
              <a:t>Modelado </a:t>
            </a:r>
            <a:r>
              <a:rPr lang="en-US" b="1" dirty="0"/>
              <a:t>de Series Temporales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US" sz="1400" dirty="0"/>
              <a:t>Entrenamiento y Validación en Series Temporales</a:t>
            </a:r>
          </a:p>
          <a:p>
            <a:pPr marL="1200150" lvl="2" indent="-285750">
              <a:buFont typeface="Wingdings" panose="05000000000000000000" pitchFamily="2" charset="2"/>
              <a:buChar char="Ø"/>
            </a:pPr>
            <a:r>
              <a:rPr lang="en-US" sz="1400" dirty="0"/>
              <a:t>Walkforward Validations</a:t>
            </a:r>
          </a:p>
          <a:p>
            <a:pPr marL="1200150" lvl="2" indent="-285750">
              <a:buFont typeface="Wingdings" panose="05000000000000000000" pitchFamily="2" charset="2"/>
              <a:buChar char="Ø"/>
            </a:pPr>
            <a:r>
              <a:rPr lang="en-US" sz="1400" dirty="0"/>
              <a:t>Métricas de validación (MAE, MAPE, RMSE, MDA)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US" sz="1400" dirty="0"/>
              <a:t>Modelos tradicionales </a:t>
            </a:r>
          </a:p>
          <a:p>
            <a:pPr marL="1200150" lvl="2" indent="-285750">
              <a:buFont typeface="Wingdings" panose="05000000000000000000" pitchFamily="2" charset="2"/>
              <a:buChar char="Ø"/>
            </a:pPr>
            <a:r>
              <a:rPr lang="en-US" sz="1400" dirty="0"/>
              <a:t>ARIMA,  (SARIMAX), prophet</a:t>
            </a:r>
          </a:p>
          <a:p>
            <a:pPr marL="1200150" lvl="2" indent="-285750">
              <a:buFont typeface="Wingdings" panose="05000000000000000000" pitchFamily="2" charset="2"/>
              <a:buChar char="Ø"/>
            </a:pPr>
            <a:r>
              <a:rPr lang="en-US" sz="1400" b="1" dirty="0" err="1">
                <a:solidFill>
                  <a:srgbClr val="FF0000"/>
                </a:solidFill>
              </a:rPr>
              <a:t>Creación</a:t>
            </a:r>
            <a:r>
              <a:rPr lang="en-US" sz="1400" b="1" dirty="0">
                <a:solidFill>
                  <a:srgbClr val="FF0000"/>
                </a:solidFill>
              </a:rPr>
              <a:t> de variables </a:t>
            </a:r>
            <a:r>
              <a:rPr lang="en-US" sz="1400" b="1" dirty="0" err="1">
                <a:solidFill>
                  <a:srgbClr val="FF0000"/>
                </a:solidFill>
              </a:rPr>
              <a:t>regresoras</a:t>
            </a:r>
            <a:r>
              <a:rPr lang="en-US" sz="1400" b="1" dirty="0">
                <a:solidFill>
                  <a:srgbClr val="FF0000"/>
                </a:solidFill>
              </a:rPr>
              <a:t>, step e impulse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US" sz="1400" b="1" dirty="0" err="1">
                <a:solidFill>
                  <a:srgbClr val="FF0000"/>
                </a:solidFill>
              </a:rPr>
              <a:t>Aplicabilidad</a:t>
            </a:r>
            <a:r>
              <a:rPr lang="en-US" sz="1400" b="1" dirty="0">
                <a:solidFill>
                  <a:srgbClr val="FF0000"/>
                </a:solidFill>
              </a:rPr>
              <a:t> de </a:t>
            </a:r>
            <a:r>
              <a:rPr lang="en-US" sz="1400" b="1" dirty="0" err="1">
                <a:solidFill>
                  <a:srgbClr val="FF0000"/>
                </a:solidFill>
              </a:rPr>
              <a:t>modelos</a:t>
            </a:r>
            <a:endParaRPr lang="en-US" sz="1400" b="1" dirty="0">
              <a:solidFill>
                <a:srgbClr val="FF0000"/>
              </a:solidFill>
            </a:endParaRPr>
          </a:p>
          <a:p>
            <a:pPr marL="1200150" lvl="2" indent="-285750">
              <a:buFont typeface="Wingdings" panose="05000000000000000000" pitchFamily="2" charset="2"/>
              <a:buChar char="Ø"/>
            </a:pPr>
            <a:r>
              <a:rPr lang="en-US" sz="1400" b="1" dirty="0" err="1">
                <a:solidFill>
                  <a:srgbClr val="FF0000"/>
                </a:solidFill>
              </a:rPr>
              <a:t>Teoría</a:t>
            </a:r>
            <a:r>
              <a:rPr lang="en-US" sz="1400" b="1" dirty="0">
                <a:solidFill>
                  <a:srgbClr val="FF0000"/>
                </a:solidFill>
              </a:rPr>
              <a:t> de los mercados </a:t>
            </a:r>
            <a:r>
              <a:rPr lang="en-US" sz="1400" b="1" dirty="0" err="1">
                <a:solidFill>
                  <a:srgbClr val="FF0000"/>
                </a:solidFill>
              </a:rPr>
              <a:t>eficientes</a:t>
            </a:r>
            <a:endParaRPr lang="en-US" sz="1400" b="1" dirty="0">
              <a:solidFill>
                <a:srgbClr val="FF0000"/>
              </a:solidFill>
            </a:endParaRPr>
          </a:p>
          <a:p>
            <a:pPr marL="1200150" lvl="2" indent="-285750">
              <a:buFont typeface="Wingdings" panose="05000000000000000000" pitchFamily="2" charset="2"/>
              <a:buChar char="Ø"/>
            </a:pPr>
            <a:endParaRPr lang="en-US" sz="1400" dirty="0"/>
          </a:p>
        </p:txBody>
      </p:sp>
      <p:sp>
        <p:nvSpPr>
          <p:cNvPr id="43" name="CuadroTexto 42">
            <a:extLst>
              <a:ext uri="{FF2B5EF4-FFF2-40B4-BE49-F238E27FC236}">
                <a16:creationId xmlns:a16="http://schemas.microsoft.com/office/drawing/2014/main" id="{47A5A277-2DCF-4F78-A2A7-6F76ED500228}"/>
              </a:ext>
            </a:extLst>
          </p:cNvPr>
          <p:cNvSpPr txBox="1"/>
          <p:nvPr/>
        </p:nvSpPr>
        <p:spPr>
          <a:xfrm>
            <a:off x="-85506" y="1360657"/>
            <a:ext cx="395960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2000" i="1" dirty="0"/>
              <a:t>Primera Fase – 2 Semanas</a:t>
            </a:r>
            <a:endParaRPr lang="en-US" i="1" dirty="0"/>
          </a:p>
        </p:txBody>
      </p:sp>
      <p:sp>
        <p:nvSpPr>
          <p:cNvPr id="45" name="CuadroTexto 44">
            <a:extLst>
              <a:ext uri="{FF2B5EF4-FFF2-40B4-BE49-F238E27FC236}">
                <a16:creationId xmlns:a16="http://schemas.microsoft.com/office/drawing/2014/main" id="{12170AA0-17D0-458A-8380-F90F34FCB72B}"/>
              </a:ext>
            </a:extLst>
          </p:cNvPr>
          <p:cNvSpPr txBox="1"/>
          <p:nvPr/>
        </p:nvSpPr>
        <p:spPr>
          <a:xfrm>
            <a:off x="5553080" y="1360657"/>
            <a:ext cx="364361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2000" i="1" dirty="0"/>
              <a:t>Segunda Fase </a:t>
            </a:r>
            <a:r>
              <a:rPr lang="es-ES" sz="1800" i="1" dirty="0"/>
              <a:t>– 2 Semanas</a:t>
            </a:r>
            <a:endParaRPr lang="en-US" i="1" dirty="0"/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152C8A77-647A-4001-81B8-157BAF9D71D0}"/>
              </a:ext>
            </a:extLst>
          </p:cNvPr>
          <p:cNvSpPr txBox="1"/>
          <p:nvPr/>
        </p:nvSpPr>
        <p:spPr>
          <a:xfrm>
            <a:off x="5708495" y="4346741"/>
            <a:ext cx="5834325" cy="16619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b="1" dirty="0"/>
              <a:t>Modelos Avanzados</a:t>
            </a:r>
            <a:endParaRPr lang="en-US" b="1" dirty="0"/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US" sz="1400" b="1" dirty="0">
                <a:solidFill>
                  <a:srgbClr val="FF0000"/>
                </a:solidFill>
              </a:rPr>
              <a:t>Modelado de Series Temporales con Redes Neuronales</a:t>
            </a:r>
          </a:p>
          <a:p>
            <a:pPr marL="1200150" lvl="2" indent="-285750">
              <a:buFont typeface="Wingdings" panose="05000000000000000000" pitchFamily="2" charset="2"/>
              <a:buChar char="Ø"/>
            </a:pPr>
            <a:r>
              <a:rPr lang="en-US" sz="1400" b="1" dirty="0">
                <a:solidFill>
                  <a:srgbClr val="FF0000"/>
                </a:solidFill>
              </a:rPr>
              <a:t>LSTM</a:t>
            </a:r>
          </a:p>
          <a:p>
            <a:pPr marL="1200150" lvl="2" indent="-285750">
              <a:buFont typeface="Wingdings" panose="05000000000000000000" pitchFamily="2" charset="2"/>
              <a:buChar char="Ø"/>
            </a:pPr>
            <a:r>
              <a:rPr lang="en-US" sz="1400" b="1" dirty="0">
                <a:solidFill>
                  <a:srgbClr val="FF0000"/>
                </a:solidFill>
              </a:rPr>
              <a:t>BSTS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US" sz="1400" dirty="0" err="1"/>
              <a:t>Simuladores</a:t>
            </a:r>
            <a:endParaRPr lang="en-US" sz="1400" dirty="0"/>
          </a:p>
          <a:p>
            <a:pPr marL="1200150" lvl="2" indent="-285750">
              <a:buFont typeface="Wingdings" panose="05000000000000000000" pitchFamily="2" charset="2"/>
              <a:buChar char="Ø"/>
            </a:pPr>
            <a:r>
              <a:rPr lang="en-US" sz="1400" dirty="0"/>
              <a:t>Importancia relativa de variables</a:t>
            </a:r>
          </a:p>
          <a:p>
            <a:pPr marL="1200150" lvl="2" indent="-285750">
              <a:buFont typeface="Wingdings" panose="05000000000000000000" pitchFamily="2" charset="2"/>
              <a:buChar char="Ø"/>
            </a:pPr>
            <a:r>
              <a:rPr lang="en-US" sz="1400" dirty="0"/>
              <a:t>Identificación de varianza base vs variable</a:t>
            </a:r>
          </a:p>
        </p:txBody>
      </p:sp>
      <p:sp>
        <p:nvSpPr>
          <p:cNvPr id="9" name="AutoShape 6" descr="statsmodels">
            <a:extLst>
              <a:ext uri="{FF2B5EF4-FFF2-40B4-BE49-F238E27FC236}">
                <a16:creationId xmlns:a16="http://schemas.microsoft.com/office/drawing/2014/main" id="{CABC1135-890E-4BE3-9332-D0D6EF3DCCCC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1524641" y="5400258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915661B0-B3F1-4F61-A765-1F3D3903FB7D}"/>
              </a:ext>
            </a:extLst>
          </p:cNvPr>
          <p:cNvSpPr txBox="1"/>
          <p:nvPr/>
        </p:nvSpPr>
        <p:spPr>
          <a:xfrm>
            <a:off x="5553080" y="4014683"/>
            <a:ext cx="368276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2000" i="1" dirty="0"/>
              <a:t>Tercera Fase – 3 Semanas</a:t>
            </a:r>
            <a:endParaRPr lang="en-US" i="1" dirty="0"/>
          </a:p>
        </p:txBody>
      </p:sp>
    </p:spTree>
    <p:extLst>
      <p:ext uri="{BB962C8B-B14F-4D97-AF65-F5344CB8AC3E}">
        <p14:creationId xmlns:p14="http://schemas.microsoft.com/office/powerpoint/2010/main" val="47552397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uadroTexto 11">
            <a:extLst>
              <a:ext uri="{FF2B5EF4-FFF2-40B4-BE49-F238E27FC236}">
                <a16:creationId xmlns:a16="http://schemas.microsoft.com/office/drawing/2014/main" id="{8948FA8D-EDF1-429F-8530-FD8D04815F2B}"/>
              </a:ext>
            </a:extLst>
          </p:cNvPr>
          <p:cNvSpPr txBox="1"/>
          <p:nvPr/>
        </p:nvSpPr>
        <p:spPr>
          <a:xfrm>
            <a:off x="5729681" y="304358"/>
            <a:ext cx="657976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3200" dirty="0"/>
              <a:t>Variables </a:t>
            </a:r>
            <a:r>
              <a:rPr lang="es-ES" sz="3200" dirty="0" err="1"/>
              <a:t>Regresoras</a:t>
            </a:r>
            <a:endParaRPr lang="es-ES" sz="3200" dirty="0"/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F2495241-AF14-4361-861E-3C23B778585E}"/>
              </a:ext>
            </a:extLst>
          </p:cNvPr>
          <p:cNvSpPr txBox="1"/>
          <p:nvPr/>
        </p:nvSpPr>
        <p:spPr>
          <a:xfrm>
            <a:off x="209724" y="1420094"/>
            <a:ext cx="578001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/>
            </a:lvl1pPr>
          </a:lstStyle>
          <a:p>
            <a:r>
              <a:rPr lang="es-ES" dirty="0"/>
              <a:t>Variables Impulso y Step</a:t>
            </a:r>
          </a:p>
        </p:txBody>
      </p:sp>
      <p:sp>
        <p:nvSpPr>
          <p:cNvPr id="14" name="CustomShape 8">
            <a:extLst>
              <a:ext uri="{FF2B5EF4-FFF2-40B4-BE49-F238E27FC236}">
                <a16:creationId xmlns:a16="http://schemas.microsoft.com/office/drawing/2014/main" id="{B9F19D66-57FB-419D-BED3-0F3342F99073}"/>
              </a:ext>
            </a:extLst>
          </p:cNvPr>
          <p:cNvSpPr/>
          <p:nvPr/>
        </p:nvSpPr>
        <p:spPr>
          <a:xfrm>
            <a:off x="8012095" y="1420094"/>
            <a:ext cx="3857233" cy="46404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122040" tIns="60840" rIns="122040" bIns="60840"/>
          <a:lstStyle/>
          <a:p>
            <a:pPr>
              <a:lnSpc>
                <a:spcPct val="100000"/>
              </a:lnSpc>
            </a:pPr>
            <a:r>
              <a:rPr lang="en-US" sz="1800" b="0" i="1" strike="noStrike" spc="-1" dirty="0" err="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ea typeface="DejaVu Sans"/>
              </a:rPr>
              <a:t>Tipos</a:t>
            </a:r>
            <a:r>
              <a:rPr lang="en-US" sz="1800" b="0" i="1" strike="noStrike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ea typeface="DejaVu Sans"/>
              </a:rPr>
              <a:t> de Variables </a:t>
            </a:r>
            <a:r>
              <a:rPr lang="en-US" sz="1800" b="0" i="1" strike="noStrike" spc="-1" dirty="0" err="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ea typeface="DejaVu Sans"/>
              </a:rPr>
              <a:t>Regresoras</a:t>
            </a:r>
            <a:endParaRPr lang="en-US" sz="1800" b="0" i="1" strike="noStrike" spc="-1" dirty="0">
              <a:solidFill>
                <a:srgbClr val="000000"/>
              </a:solidFill>
              <a:uFill>
                <a:solidFill>
                  <a:srgbClr val="FFFFFF"/>
                </a:solidFill>
              </a:uFill>
            </a:endParaRPr>
          </a:p>
        </p:txBody>
      </p:sp>
      <p:sp>
        <p:nvSpPr>
          <p:cNvPr id="15" name="CustomShape 10">
            <a:extLst>
              <a:ext uri="{FF2B5EF4-FFF2-40B4-BE49-F238E27FC236}">
                <a16:creationId xmlns:a16="http://schemas.microsoft.com/office/drawing/2014/main" id="{18ED0F88-13C8-48CD-89F4-DB30B474205F}"/>
              </a:ext>
            </a:extLst>
          </p:cNvPr>
          <p:cNvSpPr/>
          <p:nvPr/>
        </p:nvSpPr>
        <p:spPr>
          <a:xfrm>
            <a:off x="446174" y="2741657"/>
            <a:ext cx="6912522" cy="1258726"/>
          </a:xfrm>
          <a:prstGeom prst="rect">
            <a:avLst/>
          </a:prstGeom>
          <a:solidFill>
            <a:srgbClr val="FFFFFF">
              <a:alpha val="56000"/>
            </a:srgbClr>
          </a:solidFill>
          <a:ln>
            <a:solidFill>
              <a:srgbClr val="001C54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/>
          <a:p>
            <a:pPr>
              <a:lnSpc>
                <a:spcPct val="100000"/>
              </a:lnSpc>
            </a:pPr>
            <a:r>
              <a:rPr lang="es-ES" sz="1400" b="0" strike="noStrike" spc="-1" dirty="0">
                <a:solidFill>
                  <a:srgbClr val="001C54"/>
                </a:solidFill>
                <a:uFill>
                  <a:solidFill>
                    <a:srgbClr val="FFFFFF"/>
                  </a:solidFill>
                </a:uFill>
              </a:rPr>
              <a:t>Cuando tenemos comportamientos a pasado que pueden repetirse a futuro, o queremos que el entrenamiento no esté sesgado por algún suceso, </a:t>
            </a:r>
            <a:r>
              <a:rPr lang="es-ES" sz="1400" b="0" strike="noStrike" spc="-1" dirty="0" err="1">
                <a:solidFill>
                  <a:srgbClr val="001C54"/>
                </a:solidFill>
                <a:uFill>
                  <a:solidFill>
                    <a:srgbClr val="FFFFFF"/>
                  </a:solidFill>
                </a:uFill>
              </a:rPr>
              <a:t>incluímos</a:t>
            </a:r>
            <a:r>
              <a:rPr lang="es-ES" sz="1400" b="0" strike="noStrike" spc="-1" dirty="0">
                <a:solidFill>
                  <a:srgbClr val="001C54"/>
                </a:solidFill>
                <a:uFill>
                  <a:solidFill>
                    <a:srgbClr val="FFFFFF"/>
                  </a:solidFill>
                </a:uFill>
              </a:rPr>
              <a:t> una variable binaria que indique ese suceso. </a:t>
            </a:r>
          </a:p>
          <a:p>
            <a:pPr>
              <a:lnSpc>
                <a:spcPct val="100000"/>
              </a:lnSpc>
            </a:pPr>
            <a:endParaRPr lang="es-ES" sz="1400" spc="-1" dirty="0">
              <a:solidFill>
                <a:srgbClr val="001C54"/>
              </a:solidFill>
              <a:uFill>
                <a:solidFill>
                  <a:srgbClr val="FFFFFF"/>
                </a:solidFill>
              </a:uFill>
            </a:endParaRPr>
          </a:p>
          <a:p>
            <a:pPr>
              <a:lnSpc>
                <a:spcPct val="100000"/>
              </a:lnSpc>
            </a:pPr>
            <a:r>
              <a:rPr lang="es-ES" sz="1400" b="0" strike="noStrike" spc="-1" dirty="0">
                <a:solidFill>
                  <a:srgbClr val="001C54"/>
                </a:solidFill>
                <a:uFill>
                  <a:solidFill>
                    <a:srgbClr val="FFFFFF"/>
                  </a:solidFill>
                </a:uFill>
              </a:rPr>
              <a:t>Estas variables se pueden incluir a futuro si se </a:t>
            </a:r>
            <a:r>
              <a:rPr lang="es-ES" sz="1400" b="0" strike="noStrike" spc="-1" dirty="0" err="1">
                <a:solidFill>
                  <a:srgbClr val="001C54"/>
                </a:solidFill>
                <a:uFill>
                  <a:solidFill>
                    <a:srgbClr val="FFFFFF"/>
                  </a:solidFill>
                </a:uFill>
              </a:rPr>
              <a:t>previsiona</a:t>
            </a:r>
            <a:r>
              <a:rPr lang="es-ES" sz="1400" b="0" strike="noStrike" spc="-1" dirty="0">
                <a:solidFill>
                  <a:srgbClr val="001C54"/>
                </a:solidFill>
                <a:uFill>
                  <a:solidFill>
                    <a:srgbClr val="FFFFFF"/>
                  </a:solidFill>
                </a:uFill>
              </a:rPr>
              <a:t> que se repitan</a:t>
            </a:r>
          </a:p>
        </p:txBody>
      </p:sp>
      <p:sp>
        <p:nvSpPr>
          <p:cNvPr id="9" name="AutoShape 6" descr="statsmodels">
            <a:extLst>
              <a:ext uri="{FF2B5EF4-FFF2-40B4-BE49-F238E27FC236}">
                <a16:creationId xmlns:a16="http://schemas.microsoft.com/office/drawing/2014/main" id="{CABC1135-890E-4BE3-9332-D0D6EF3DCCCC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1524641" y="6135196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cxnSp>
        <p:nvCxnSpPr>
          <p:cNvPr id="39" name="Conector recto 38">
            <a:extLst>
              <a:ext uri="{FF2B5EF4-FFF2-40B4-BE49-F238E27FC236}">
                <a16:creationId xmlns:a16="http://schemas.microsoft.com/office/drawing/2014/main" id="{5AD6A575-EAA4-4DD6-BCC7-62101261CE33}"/>
              </a:ext>
            </a:extLst>
          </p:cNvPr>
          <p:cNvCxnSpPr>
            <a:cxnSpLocks/>
          </p:cNvCxnSpPr>
          <p:nvPr/>
        </p:nvCxnSpPr>
        <p:spPr>
          <a:xfrm flipV="1">
            <a:off x="8166683" y="6000003"/>
            <a:ext cx="3074565" cy="2253"/>
          </a:xfrm>
          <a:prstGeom prst="line">
            <a:avLst/>
          </a:prstGeom>
          <a:ln>
            <a:solidFill>
              <a:schemeClr val="accent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ector recto 17">
            <a:extLst>
              <a:ext uri="{FF2B5EF4-FFF2-40B4-BE49-F238E27FC236}">
                <a16:creationId xmlns:a16="http://schemas.microsoft.com/office/drawing/2014/main" id="{69A5CF17-122D-4FA1-BF6C-46E418E8784C}"/>
              </a:ext>
            </a:extLst>
          </p:cNvPr>
          <p:cNvCxnSpPr>
            <a:cxnSpLocks/>
          </p:cNvCxnSpPr>
          <p:nvPr/>
        </p:nvCxnSpPr>
        <p:spPr>
          <a:xfrm>
            <a:off x="8170636" y="5983713"/>
            <a:ext cx="1233181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ector recto 18">
            <a:extLst>
              <a:ext uri="{FF2B5EF4-FFF2-40B4-BE49-F238E27FC236}">
                <a16:creationId xmlns:a16="http://schemas.microsoft.com/office/drawing/2014/main" id="{800C7372-C8A4-4542-804E-0EB015DE194E}"/>
              </a:ext>
            </a:extLst>
          </p:cNvPr>
          <p:cNvCxnSpPr>
            <a:cxnSpLocks/>
          </p:cNvCxnSpPr>
          <p:nvPr/>
        </p:nvCxnSpPr>
        <p:spPr>
          <a:xfrm flipV="1">
            <a:off x="9403817" y="5031600"/>
            <a:ext cx="0" cy="952113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ector recto 19">
            <a:extLst>
              <a:ext uri="{FF2B5EF4-FFF2-40B4-BE49-F238E27FC236}">
                <a16:creationId xmlns:a16="http://schemas.microsoft.com/office/drawing/2014/main" id="{9DB20B8E-97DB-4FB1-8435-3D29C22864E1}"/>
              </a:ext>
            </a:extLst>
          </p:cNvPr>
          <p:cNvCxnSpPr>
            <a:cxnSpLocks/>
          </p:cNvCxnSpPr>
          <p:nvPr/>
        </p:nvCxnSpPr>
        <p:spPr>
          <a:xfrm flipV="1">
            <a:off x="9940712" y="5031600"/>
            <a:ext cx="0" cy="952113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ector recto 20">
            <a:extLst>
              <a:ext uri="{FF2B5EF4-FFF2-40B4-BE49-F238E27FC236}">
                <a16:creationId xmlns:a16="http://schemas.microsoft.com/office/drawing/2014/main" id="{CD57ADF9-457E-4099-9DFC-3856436962DF}"/>
              </a:ext>
            </a:extLst>
          </p:cNvPr>
          <p:cNvCxnSpPr>
            <a:cxnSpLocks/>
          </p:cNvCxnSpPr>
          <p:nvPr/>
        </p:nvCxnSpPr>
        <p:spPr>
          <a:xfrm>
            <a:off x="9940712" y="5983713"/>
            <a:ext cx="1233181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ector recto 21">
            <a:extLst>
              <a:ext uri="{FF2B5EF4-FFF2-40B4-BE49-F238E27FC236}">
                <a16:creationId xmlns:a16="http://schemas.microsoft.com/office/drawing/2014/main" id="{2EAF4ACD-9A2C-4DD4-9090-D8D3EF438F22}"/>
              </a:ext>
            </a:extLst>
          </p:cNvPr>
          <p:cNvCxnSpPr>
            <a:cxnSpLocks/>
          </p:cNvCxnSpPr>
          <p:nvPr/>
        </p:nvCxnSpPr>
        <p:spPr>
          <a:xfrm>
            <a:off x="9403817" y="5031600"/>
            <a:ext cx="536895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ector recto 26">
            <a:extLst>
              <a:ext uri="{FF2B5EF4-FFF2-40B4-BE49-F238E27FC236}">
                <a16:creationId xmlns:a16="http://schemas.microsoft.com/office/drawing/2014/main" id="{B194412C-1BFA-41A8-8EC2-754A8B7ED648}"/>
              </a:ext>
            </a:extLst>
          </p:cNvPr>
          <p:cNvCxnSpPr>
            <a:cxnSpLocks/>
          </p:cNvCxnSpPr>
          <p:nvPr/>
        </p:nvCxnSpPr>
        <p:spPr>
          <a:xfrm flipV="1">
            <a:off x="8166683" y="4929433"/>
            <a:ext cx="0" cy="1112606"/>
          </a:xfrm>
          <a:prstGeom prst="line">
            <a:avLst/>
          </a:prstGeom>
          <a:ln>
            <a:solidFill>
              <a:schemeClr val="accent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CuadroTexto 30">
            <a:extLst>
              <a:ext uri="{FF2B5EF4-FFF2-40B4-BE49-F238E27FC236}">
                <a16:creationId xmlns:a16="http://schemas.microsoft.com/office/drawing/2014/main" id="{10E12565-DEE2-4290-A4CD-6B234E1A38F3}"/>
              </a:ext>
            </a:extLst>
          </p:cNvPr>
          <p:cNvSpPr txBox="1"/>
          <p:nvPr/>
        </p:nvSpPr>
        <p:spPr>
          <a:xfrm>
            <a:off x="7776595" y="4901024"/>
            <a:ext cx="23549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100" dirty="0"/>
              <a:t>1</a:t>
            </a:r>
            <a:endParaRPr lang="en-US" sz="1100" dirty="0"/>
          </a:p>
        </p:txBody>
      </p:sp>
      <p:sp>
        <p:nvSpPr>
          <p:cNvPr id="32" name="CuadroTexto 31">
            <a:extLst>
              <a:ext uri="{FF2B5EF4-FFF2-40B4-BE49-F238E27FC236}">
                <a16:creationId xmlns:a16="http://schemas.microsoft.com/office/drawing/2014/main" id="{AA1F4507-3EFC-4372-887D-AE98AEB439BF}"/>
              </a:ext>
            </a:extLst>
          </p:cNvPr>
          <p:cNvSpPr txBox="1"/>
          <p:nvPr/>
        </p:nvSpPr>
        <p:spPr>
          <a:xfrm>
            <a:off x="7776595" y="5852908"/>
            <a:ext cx="23549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100" dirty="0"/>
              <a:t>0</a:t>
            </a:r>
            <a:endParaRPr lang="en-US" sz="1100" dirty="0"/>
          </a:p>
        </p:txBody>
      </p:sp>
      <p:sp>
        <p:nvSpPr>
          <p:cNvPr id="33" name="CuadroTexto 32">
            <a:extLst>
              <a:ext uri="{FF2B5EF4-FFF2-40B4-BE49-F238E27FC236}">
                <a16:creationId xmlns:a16="http://schemas.microsoft.com/office/drawing/2014/main" id="{6E818DBC-1DDB-43A0-B1E5-E001A7D22D20}"/>
              </a:ext>
            </a:extLst>
          </p:cNvPr>
          <p:cNvSpPr txBox="1"/>
          <p:nvPr/>
        </p:nvSpPr>
        <p:spPr>
          <a:xfrm>
            <a:off x="9286067" y="5983713"/>
            <a:ext cx="23549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100" dirty="0"/>
              <a:t>t</a:t>
            </a:r>
            <a:endParaRPr lang="en-US" sz="1100" dirty="0"/>
          </a:p>
        </p:txBody>
      </p:sp>
      <p:sp>
        <p:nvSpPr>
          <p:cNvPr id="34" name="CuadroTexto 33">
            <a:extLst>
              <a:ext uri="{FF2B5EF4-FFF2-40B4-BE49-F238E27FC236}">
                <a16:creationId xmlns:a16="http://schemas.microsoft.com/office/drawing/2014/main" id="{3E30D684-4D8B-4A88-9945-E4644B0ED323}"/>
              </a:ext>
            </a:extLst>
          </p:cNvPr>
          <p:cNvSpPr txBox="1"/>
          <p:nvPr/>
        </p:nvSpPr>
        <p:spPr>
          <a:xfrm>
            <a:off x="9746721" y="5983713"/>
            <a:ext cx="53689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100" dirty="0" err="1"/>
              <a:t>t+n</a:t>
            </a:r>
            <a:endParaRPr lang="en-US" sz="1100" dirty="0"/>
          </a:p>
        </p:txBody>
      </p:sp>
      <p:sp>
        <p:nvSpPr>
          <p:cNvPr id="35" name="CuadroTexto 34">
            <a:extLst>
              <a:ext uri="{FF2B5EF4-FFF2-40B4-BE49-F238E27FC236}">
                <a16:creationId xmlns:a16="http://schemas.microsoft.com/office/drawing/2014/main" id="{7D7DEDD3-F50A-44DD-9EBA-53E52CC0A7E9}"/>
              </a:ext>
            </a:extLst>
          </p:cNvPr>
          <p:cNvSpPr txBox="1"/>
          <p:nvPr/>
        </p:nvSpPr>
        <p:spPr>
          <a:xfrm>
            <a:off x="11212644" y="5911234"/>
            <a:ext cx="94748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100" dirty="0"/>
              <a:t>Tiempo</a:t>
            </a:r>
            <a:endParaRPr lang="en-US" sz="1100" dirty="0"/>
          </a:p>
        </p:txBody>
      </p:sp>
      <p:sp>
        <p:nvSpPr>
          <p:cNvPr id="43" name="CustomShape 10">
            <a:extLst>
              <a:ext uri="{FF2B5EF4-FFF2-40B4-BE49-F238E27FC236}">
                <a16:creationId xmlns:a16="http://schemas.microsoft.com/office/drawing/2014/main" id="{D6D29118-76E5-42CD-B981-4368C14158DD}"/>
              </a:ext>
            </a:extLst>
          </p:cNvPr>
          <p:cNvSpPr/>
          <p:nvPr/>
        </p:nvSpPr>
        <p:spPr>
          <a:xfrm>
            <a:off x="8052389" y="4463897"/>
            <a:ext cx="1694332" cy="434695"/>
          </a:xfrm>
          <a:prstGeom prst="rect">
            <a:avLst/>
          </a:prstGeom>
          <a:solidFill>
            <a:srgbClr val="FFFFFF">
              <a:alpha val="56000"/>
            </a:srgb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/>
          <a:p>
            <a:pPr>
              <a:lnSpc>
                <a:spcPct val="100000"/>
              </a:lnSpc>
            </a:pPr>
            <a:r>
              <a:rPr lang="es-ES" sz="1400" b="0" strike="noStrike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</a:rPr>
              <a:t>Variable Step</a:t>
            </a:r>
          </a:p>
        </p:txBody>
      </p:sp>
      <p:grpSp>
        <p:nvGrpSpPr>
          <p:cNvPr id="48" name="Grupo 47">
            <a:extLst>
              <a:ext uri="{FF2B5EF4-FFF2-40B4-BE49-F238E27FC236}">
                <a16:creationId xmlns:a16="http://schemas.microsoft.com/office/drawing/2014/main" id="{BAF17F5D-0DA7-43D5-BAF6-DDAB59BE1CAD}"/>
              </a:ext>
            </a:extLst>
          </p:cNvPr>
          <p:cNvGrpSpPr/>
          <p:nvPr/>
        </p:nvGrpSpPr>
        <p:grpSpPr>
          <a:xfrm>
            <a:off x="7776595" y="2332267"/>
            <a:ext cx="4308432" cy="1770253"/>
            <a:chOff x="7776595" y="2332267"/>
            <a:chExt cx="4308432" cy="1770253"/>
          </a:xfrm>
        </p:grpSpPr>
        <p:grpSp>
          <p:nvGrpSpPr>
            <p:cNvPr id="45" name="Grupo 44">
              <a:extLst>
                <a:ext uri="{FF2B5EF4-FFF2-40B4-BE49-F238E27FC236}">
                  <a16:creationId xmlns:a16="http://schemas.microsoft.com/office/drawing/2014/main" id="{9C51A533-5EF7-4DD2-A400-466DBD4012C3}"/>
                </a:ext>
              </a:extLst>
            </p:cNvPr>
            <p:cNvGrpSpPr/>
            <p:nvPr/>
          </p:nvGrpSpPr>
          <p:grpSpPr>
            <a:xfrm>
              <a:off x="7776595" y="2697907"/>
              <a:ext cx="4308432" cy="1404613"/>
              <a:chOff x="7776595" y="2697907"/>
              <a:chExt cx="4308432" cy="1404613"/>
            </a:xfrm>
          </p:grpSpPr>
          <p:cxnSp>
            <p:nvCxnSpPr>
              <p:cNvPr id="4" name="Conector recto 3">
                <a:extLst>
                  <a:ext uri="{FF2B5EF4-FFF2-40B4-BE49-F238E27FC236}">
                    <a16:creationId xmlns:a16="http://schemas.microsoft.com/office/drawing/2014/main" id="{28128DF2-1F3C-47EA-B43A-D389A9B8803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166683" y="3909878"/>
                <a:ext cx="3074565" cy="2253"/>
              </a:xfrm>
              <a:prstGeom prst="line">
                <a:avLst/>
              </a:prstGeom>
              <a:ln>
                <a:solidFill>
                  <a:schemeClr val="accent2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Conector recto 16">
                <a:extLst>
                  <a:ext uri="{FF2B5EF4-FFF2-40B4-BE49-F238E27FC236}">
                    <a16:creationId xmlns:a16="http://schemas.microsoft.com/office/drawing/2014/main" id="{C0231DC1-E309-4D4C-9301-02BA4CD90A9A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9403816" y="2891050"/>
                <a:ext cx="0" cy="952113"/>
              </a:xfrm>
              <a:prstGeom prst="line">
                <a:avLst/>
              </a:prstGeom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Conector recto 39">
                <a:extLst>
                  <a:ext uri="{FF2B5EF4-FFF2-40B4-BE49-F238E27FC236}">
                    <a16:creationId xmlns:a16="http://schemas.microsoft.com/office/drawing/2014/main" id="{0B8B307B-C2B4-45DC-A270-EB639FD5CEDF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166683" y="3869083"/>
                <a:ext cx="3074565" cy="2253"/>
              </a:xfrm>
              <a:prstGeom prst="line">
                <a:avLst/>
              </a:prstGeom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Conector recto 25">
                <a:extLst>
                  <a:ext uri="{FF2B5EF4-FFF2-40B4-BE49-F238E27FC236}">
                    <a16:creationId xmlns:a16="http://schemas.microsoft.com/office/drawing/2014/main" id="{D927FF8F-AA52-4369-8E29-C14DC13110D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166683" y="2891050"/>
                <a:ext cx="0" cy="1020351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9" name="CuadroTexto 28">
                <a:extLst>
                  <a:ext uri="{FF2B5EF4-FFF2-40B4-BE49-F238E27FC236}">
                    <a16:creationId xmlns:a16="http://schemas.microsoft.com/office/drawing/2014/main" id="{581D4E5A-412E-42F7-A4F0-F5ED26C182FC}"/>
                  </a:ext>
                </a:extLst>
              </p:cNvPr>
              <p:cNvSpPr txBox="1"/>
              <p:nvPr/>
            </p:nvSpPr>
            <p:spPr>
              <a:xfrm>
                <a:off x="7776595" y="2697907"/>
                <a:ext cx="235499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s-ES" sz="1100" dirty="0"/>
                  <a:t>1</a:t>
                </a:r>
                <a:endParaRPr lang="en-US" sz="1100" dirty="0"/>
              </a:p>
            </p:txBody>
          </p:sp>
          <p:sp>
            <p:nvSpPr>
              <p:cNvPr id="30" name="CuadroTexto 29">
                <a:extLst>
                  <a:ext uri="{FF2B5EF4-FFF2-40B4-BE49-F238E27FC236}">
                    <a16:creationId xmlns:a16="http://schemas.microsoft.com/office/drawing/2014/main" id="{F6B9B9B8-6A92-4326-AB19-FE7A3AE51E18}"/>
                  </a:ext>
                </a:extLst>
              </p:cNvPr>
              <p:cNvSpPr txBox="1"/>
              <p:nvPr/>
            </p:nvSpPr>
            <p:spPr>
              <a:xfrm>
                <a:off x="7776595" y="3649791"/>
                <a:ext cx="235499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s-ES" sz="1100" dirty="0"/>
                  <a:t>0</a:t>
                </a:r>
                <a:endParaRPr lang="en-US" sz="1100" dirty="0"/>
              </a:p>
            </p:txBody>
          </p:sp>
          <p:sp>
            <p:nvSpPr>
              <p:cNvPr id="36" name="CuadroTexto 35">
                <a:extLst>
                  <a:ext uri="{FF2B5EF4-FFF2-40B4-BE49-F238E27FC236}">
                    <a16:creationId xmlns:a16="http://schemas.microsoft.com/office/drawing/2014/main" id="{6115C6EB-ED37-4E86-B911-F730108D9D6C}"/>
                  </a:ext>
                </a:extLst>
              </p:cNvPr>
              <p:cNvSpPr txBox="1"/>
              <p:nvPr/>
            </p:nvSpPr>
            <p:spPr>
              <a:xfrm>
                <a:off x="11137541" y="3840910"/>
                <a:ext cx="947486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s-ES" sz="1100" dirty="0"/>
                  <a:t>Tiempo</a:t>
                </a:r>
                <a:endParaRPr lang="en-US" sz="1100" dirty="0"/>
              </a:p>
            </p:txBody>
          </p:sp>
          <p:sp>
            <p:nvSpPr>
              <p:cNvPr id="38" name="CuadroTexto 37">
                <a:extLst>
                  <a:ext uri="{FF2B5EF4-FFF2-40B4-BE49-F238E27FC236}">
                    <a16:creationId xmlns:a16="http://schemas.microsoft.com/office/drawing/2014/main" id="{7523A0A5-CF12-4177-9517-339EAB25D146}"/>
                  </a:ext>
                </a:extLst>
              </p:cNvPr>
              <p:cNvSpPr txBox="1"/>
              <p:nvPr/>
            </p:nvSpPr>
            <p:spPr>
              <a:xfrm>
                <a:off x="9286067" y="3840910"/>
                <a:ext cx="235499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s-ES" sz="1100" dirty="0"/>
                  <a:t>t</a:t>
                </a:r>
                <a:endParaRPr lang="en-US" sz="1100" dirty="0"/>
              </a:p>
            </p:txBody>
          </p:sp>
        </p:grpSp>
        <p:sp>
          <p:nvSpPr>
            <p:cNvPr id="46" name="CustomShape 10">
              <a:extLst>
                <a:ext uri="{FF2B5EF4-FFF2-40B4-BE49-F238E27FC236}">
                  <a16:creationId xmlns:a16="http://schemas.microsoft.com/office/drawing/2014/main" id="{2C1148E5-8642-4AC2-AE19-BE8C0D63BC5C}"/>
                </a:ext>
              </a:extLst>
            </p:cNvPr>
            <p:cNvSpPr/>
            <p:nvPr/>
          </p:nvSpPr>
          <p:spPr>
            <a:xfrm>
              <a:off x="8052389" y="2332267"/>
              <a:ext cx="1694332" cy="434695"/>
            </a:xfrm>
            <a:prstGeom prst="rect">
              <a:avLst/>
            </a:prstGeom>
            <a:solidFill>
              <a:srgbClr val="FFFFFF">
                <a:alpha val="56000"/>
              </a:srgb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 lIns="90000" tIns="45000" rIns="90000" bIns="45000"/>
            <a:lstStyle/>
            <a:p>
              <a:pPr>
                <a:lnSpc>
                  <a:spcPct val="100000"/>
                </a:lnSpc>
              </a:pPr>
              <a:r>
                <a:rPr lang="es-ES" sz="1400" b="0" strike="noStrike" spc="-1" dirty="0">
                  <a:solidFill>
                    <a:srgbClr val="000000"/>
                  </a:solidFill>
                  <a:uFill>
                    <a:solidFill>
                      <a:srgbClr val="FFFFFF"/>
                    </a:solidFill>
                  </a:uFill>
                </a:rPr>
                <a:t>Variable Impulso</a:t>
              </a:r>
            </a:p>
          </p:txBody>
        </p:sp>
      </p:grpSp>
      <p:sp>
        <p:nvSpPr>
          <p:cNvPr id="47" name="CustomShape 10">
            <a:extLst>
              <a:ext uri="{FF2B5EF4-FFF2-40B4-BE49-F238E27FC236}">
                <a16:creationId xmlns:a16="http://schemas.microsoft.com/office/drawing/2014/main" id="{A1A09E1B-1753-4C75-8426-9AFDBCC17162}"/>
              </a:ext>
            </a:extLst>
          </p:cNvPr>
          <p:cNvSpPr/>
          <p:nvPr/>
        </p:nvSpPr>
        <p:spPr>
          <a:xfrm>
            <a:off x="237770" y="5006379"/>
            <a:ext cx="5491911" cy="863053"/>
          </a:xfrm>
          <a:prstGeom prst="rect">
            <a:avLst/>
          </a:prstGeom>
          <a:solidFill>
            <a:srgbClr val="FFFFFF">
              <a:alpha val="56000"/>
            </a:srgbClr>
          </a:solidFill>
          <a:ln>
            <a:solidFill>
              <a:schemeClr val="accent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/>
          <a:p>
            <a:pPr>
              <a:lnSpc>
                <a:spcPct val="100000"/>
              </a:lnSpc>
            </a:pPr>
            <a:r>
              <a:rPr lang="es-ES" sz="1400" spc="-1" dirty="0">
                <a:solidFill>
                  <a:schemeClr val="accent1"/>
                </a:solidFill>
                <a:uFill>
                  <a:solidFill>
                    <a:srgbClr val="FFFFFF"/>
                  </a:solidFill>
                </a:uFill>
              </a:rPr>
              <a:t>Si vemos que existe un comportamiento que puede tener efecto sobre varios períodos, se puede utilizar una forma distinta</a:t>
            </a:r>
            <a:endParaRPr lang="es-ES" sz="1400" b="0" strike="noStrike" spc="-1" dirty="0">
              <a:solidFill>
                <a:schemeClr val="accent1"/>
              </a:solidFill>
              <a:uFill>
                <a:solidFill>
                  <a:srgbClr val="FFFFFF"/>
                </a:solidFill>
              </a:uFill>
            </a:endParaRPr>
          </a:p>
        </p:txBody>
      </p:sp>
    </p:spTree>
    <p:extLst>
      <p:ext uri="{BB962C8B-B14F-4D97-AF65-F5344CB8AC3E}">
        <p14:creationId xmlns:p14="http://schemas.microsoft.com/office/powerpoint/2010/main" val="6241337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15" grpId="0" animBg="1"/>
      <p:bldP spid="9" grpId="0"/>
      <p:bldP spid="31" grpId="0"/>
      <p:bldP spid="32" grpId="0"/>
      <p:bldP spid="33" grpId="0"/>
      <p:bldP spid="34" grpId="0"/>
      <p:bldP spid="35" grpId="0"/>
      <p:bldP spid="43" grpId="0" animBg="1"/>
      <p:bldP spid="47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uadroTexto 11">
            <a:extLst>
              <a:ext uri="{FF2B5EF4-FFF2-40B4-BE49-F238E27FC236}">
                <a16:creationId xmlns:a16="http://schemas.microsoft.com/office/drawing/2014/main" id="{8948FA8D-EDF1-429F-8530-FD8D04815F2B}"/>
              </a:ext>
            </a:extLst>
          </p:cNvPr>
          <p:cNvSpPr txBox="1"/>
          <p:nvPr/>
        </p:nvSpPr>
        <p:spPr>
          <a:xfrm>
            <a:off x="5729681" y="304358"/>
            <a:ext cx="657976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3200" dirty="0"/>
              <a:t>Aplicabilidad de los Modelos</a:t>
            </a:r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F2495241-AF14-4361-861E-3C23B778585E}"/>
              </a:ext>
            </a:extLst>
          </p:cNvPr>
          <p:cNvSpPr txBox="1"/>
          <p:nvPr/>
        </p:nvSpPr>
        <p:spPr>
          <a:xfrm>
            <a:off x="209724" y="1420094"/>
            <a:ext cx="522634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/>
            </a:lvl1pPr>
          </a:lstStyle>
          <a:p>
            <a:r>
              <a:rPr lang="es-ES" dirty="0"/>
              <a:t>Teoría de los Mercados Eficientes</a:t>
            </a:r>
          </a:p>
        </p:txBody>
      </p:sp>
      <p:sp>
        <p:nvSpPr>
          <p:cNvPr id="9" name="AutoShape 6" descr="statsmodels">
            <a:extLst>
              <a:ext uri="{FF2B5EF4-FFF2-40B4-BE49-F238E27FC236}">
                <a16:creationId xmlns:a16="http://schemas.microsoft.com/office/drawing/2014/main" id="{CABC1135-890E-4BE3-9332-D0D6EF3DCCCC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1524641" y="6135196"/>
            <a:ext cx="304800" cy="304800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7" name="CustomShape 10">
            <a:extLst>
              <a:ext uri="{FF2B5EF4-FFF2-40B4-BE49-F238E27FC236}">
                <a16:creationId xmlns:a16="http://schemas.microsoft.com/office/drawing/2014/main" id="{E7887C6A-63C6-4207-8A0A-270DC3EB61AA}"/>
              </a:ext>
            </a:extLst>
          </p:cNvPr>
          <p:cNvSpPr/>
          <p:nvPr/>
        </p:nvSpPr>
        <p:spPr>
          <a:xfrm>
            <a:off x="209724" y="5065079"/>
            <a:ext cx="8128539" cy="461666"/>
          </a:xfrm>
          <a:prstGeom prst="rect">
            <a:avLst/>
          </a:prstGeom>
          <a:solidFill>
            <a:srgbClr val="001C5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/>
          <a:p>
            <a:pPr>
              <a:lnSpc>
                <a:spcPct val="100000"/>
              </a:lnSpc>
            </a:pPr>
            <a:r>
              <a:rPr lang="es-ES" spc="-1" dirty="0">
                <a:solidFill>
                  <a:schemeClr val="bg1"/>
                </a:solidFill>
                <a:uFill>
                  <a:solidFill>
                    <a:srgbClr val="FFFFFF"/>
                  </a:solidFill>
                </a:uFill>
              </a:rPr>
              <a:t>¿Qué información está siendo considerada en el precio de un activo?</a:t>
            </a:r>
            <a:endParaRPr lang="es-ES" b="0" strike="noStrike" spc="-1" dirty="0">
              <a:solidFill>
                <a:schemeClr val="bg1"/>
              </a:solidFill>
              <a:uFill>
                <a:solidFill>
                  <a:srgbClr val="FFFFFF"/>
                </a:solidFill>
              </a:uFill>
            </a:endParaRPr>
          </a:p>
        </p:txBody>
      </p:sp>
      <p:sp>
        <p:nvSpPr>
          <p:cNvPr id="41" name="CustomShape 10">
            <a:extLst>
              <a:ext uri="{FF2B5EF4-FFF2-40B4-BE49-F238E27FC236}">
                <a16:creationId xmlns:a16="http://schemas.microsoft.com/office/drawing/2014/main" id="{9CFC0A8D-32EE-4C33-A4CE-E16CA564C46D}"/>
              </a:ext>
            </a:extLst>
          </p:cNvPr>
          <p:cNvSpPr/>
          <p:nvPr/>
        </p:nvSpPr>
        <p:spPr>
          <a:xfrm>
            <a:off x="4151870" y="4331319"/>
            <a:ext cx="7932849" cy="37282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/>
          <a:p>
            <a:pPr>
              <a:lnSpc>
                <a:spcPct val="100000"/>
              </a:lnSpc>
            </a:pPr>
            <a:r>
              <a:rPr lang="es-ES" spc="-1" dirty="0">
                <a:solidFill>
                  <a:schemeClr val="bg1"/>
                </a:solidFill>
                <a:uFill>
                  <a:solidFill>
                    <a:srgbClr val="FFFFFF"/>
                  </a:solidFill>
                </a:uFill>
              </a:rPr>
              <a:t>¿Cuándo merece la pena hacer un modelo que prediga a futuro?</a:t>
            </a:r>
            <a:endParaRPr lang="es-ES" b="0" strike="noStrike" spc="-1" dirty="0">
              <a:solidFill>
                <a:schemeClr val="bg1"/>
              </a:solidFill>
              <a:uFill>
                <a:solidFill>
                  <a:srgbClr val="FFFFFF"/>
                </a:solidFill>
              </a:uFill>
            </a:endParaRPr>
          </a:p>
        </p:txBody>
      </p:sp>
      <p:sp>
        <p:nvSpPr>
          <p:cNvPr id="42" name="CustomShape 10">
            <a:extLst>
              <a:ext uri="{FF2B5EF4-FFF2-40B4-BE49-F238E27FC236}">
                <a16:creationId xmlns:a16="http://schemas.microsoft.com/office/drawing/2014/main" id="{D2DD50D8-D32A-48EC-BF26-021C802E3FF5}"/>
              </a:ext>
            </a:extLst>
          </p:cNvPr>
          <p:cNvSpPr/>
          <p:nvPr/>
        </p:nvSpPr>
        <p:spPr>
          <a:xfrm>
            <a:off x="1832835" y="5885404"/>
            <a:ext cx="10251884" cy="372827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/>
          <a:p>
            <a:pPr>
              <a:lnSpc>
                <a:spcPct val="100000"/>
              </a:lnSpc>
            </a:pPr>
            <a:r>
              <a:rPr lang="es-ES" spc="-1" dirty="0">
                <a:solidFill>
                  <a:schemeClr val="bg1"/>
                </a:solidFill>
                <a:uFill>
                  <a:solidFill>
                    <a:srgbClr val="FFFFFF"/>
                  </a:solidFill>
                </a:uFill>
              </a:rPr>
              <a:t>¿Existen otras entidades con nuestra misma capacidad de predecir o de ver tendencias? </a:t>
            </a:r>
            <a:endParaRPr lang="es-ES" b="0" strike="noStrike" spc="-1" dirty="0">
              <a:solidFill>
                <a:schemeClr val="bg1"/>
              </a:solidFill>
              <a:uFill>
                <a:solidFill>
                  <a:srgbClr val="FFFFFF"/>
                </a:solidFill>
              </a:uFill>
            </a:endParaRPr>
          </a:p>
        </p:txBody>
      </p:sp>
      <p:grpSp>
        <p:nvGrpSpPr>
          <p:cNvPr id="2" name="Grupo 1">
            <a:extLst>
              <a:ext uri="{FF2B5EF4-FFF2-40B4-BE49-F238E27FC236}">
                <a16:creationId xmlns:a16="http://schemas.microsoft.com/office/drawing/2014/main" id="{709E1E89-0F25-4DE4-938A-81EBDDA4E9DB}"/>
              </a:ext>
            </a:extLst>
          </p:cNvPr>
          <p:cNvGrpSpPr/>
          <p:nvPr/>
        </p:nvGrpSpPr>
        <p:grpSpPr>
          <a:xfrm>
            <a:off x="209724" y="2772860"/>
            <a:ext cx="7424240" cy="719761"/>
            <a:chOff x="687758" y="3019088"/>
            <a:chExt cx="7424240" cy="719761"/>
          </a:xfrm>
        </p:grpSpPr>
        <p:sp>
          <p:nvSpPr>
            <p:cNvPr id="44" name="CustomShape 10">
              <a:extLst>
                <a:ext uri="{FF2B5EF4-FFF2-40B4-BE49-F238E27FC236}">
                  <a16:creationId xmlns:a16="http://schemas.microsoft.com/office/drawing/2014/main" id="{EA1F8543-780C-4938-9F48-346544FBE225}"/>
                </a:ext>
              </a:extLst>
            </p:cNvPr>
            <p:cNvSpPr/>
            <p:nvPr/>
          </p:nvSpPr>
          <p:spPr>
            <a:xfrm>
              <a:off x="687758" y="3019088"/>
              <a:ext cx="6343238" cy="461666"/>
            </a:xfrm>
            <a:prstGeom prst="rect">
              <a:avLst/>
            </a:prstGeom>
            <a:solidFill>
              <a:srgbClr val="FFFFFF">
                <a:alpha val="56000"/>
              </a:srgb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 lIns="90000" tIns="45000" rIns="90000" bIns="45000"/>
            <a:lstStyle/>
            <a:p>
              <a:pPr>
                <a:lnSpc>
                  <a:spcPct val="100000"/>
                </a:lnSpc>
              </a:pPr>
              <a:r>
                <a:rPr lang="es-ES" sz="2000" spc="-1" dirty="0">
                  <a:solidFill>
                    <a:srgbClr val="000000"/>
                  </a:solidFill>
                  <a:uFill>
                    <a:solidFill>
                      <a:srgbClr val="FFFFFF"/>
                    </a:solidFill>
                  </a:uFill>
                </a:rPr>
                <a:t>Perspectiva del inversor, ¿Qué hago hoy si sé que las acciones de </a:t>
              </a:r>
              <a:r>
                <a:rPr lang="es-ES" sz="2000" spc="-1" dirty="0" err="1">
                  <a:solidFill>
                    <a:srgbClr val="000000"/>
                  </a:solidFill>
                  <a:uFill>
                    <a:solidFill>
                      <a:srgbClr val="FFFFFF"/>
                    </a:solidFill>
                  </a:uFill>
                </a:rPr>
                <a:t>RayBan</a:t>
              </a:r>
              <a:r>
                <a:rPr lang="es-ES" sz="2000" spc="-1" dirty="0">
                  <a:solidFill>
                    <a:srgbClr val="000000"/>
                  </a:solidFill>
                  <a:uFill>
                    <a:solidFill>
                      <a:srgbClr val="FFFFFF"/>
                    </a:solidFill>
                  </a:uFill>
                </a:rPr>
                <a:t> siempre suben en el verano? </a:t>
              </a:r>
              <a:endParaRPr lang="es-ES" sz="2000" b="0" strike="noStrike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</a:endParaRPr>
            </a:p>
          </p:txBody>
        </p:sp>
        <p:sp>
          <p:nvSpPr>
            <p:cNvPr id="49" name="Sunglasses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7A60A4A0-6393-4286-963E-E0FEE5D90ABC}"/>
                </a:ext>
              </a:extLst>
            </p:cNvPr>
            <p:cNvSpPr>
              <a:spLocks noChangeAspect="1" noEditPoints="1"/>
            </p:cNvSpPr>
            <p:nvPr>
              <p:custDataLst>
                <p:tags r:id="rId1"/>
              </p:custDataLst>
            </p:nvPr>
          </p:nvSpPr>
          <p:spPr bwMode="auto">
            <a:xfrm>
              <a:off x="7030996" y="3195924"/>
              <a:ext cx="1081002" cy="542925"/>
            </a:xfrm>
            <a:custGeom>
              <a:avLst/>
              <a:gdLst>
                <a:gd name="T0" fmla="*/ 955 w 1056"/>
                <a:gd name="T1" fmla="*/ 99 h 528"/>
                <a:gd name="T2" fmla="*/ 779 w 1056"/>
                <a:gd name="T3" fmla="*/ 44 h 528"/>
                <a:gd name="T4" fmla="*/ 564 w 1056"/>
                <a:gd name="T5" fmla="*/ 46 h 528"/>
                <a:gd name="T6" fmla="*/ 442 w 1056"/>
                <a:gd name="T7" fmla="*/ 182 h 528"/>
                <a:gd name="T8" fmla="*/ 583 w 1056"/>
                <a:gd name="T9" fmla="*/ 72 h 528"/>
                <a:gd name="T10" fmla="*/ 778 w 1056"/>
                <a:gd name="T11" fmla="*/ 82 h 528"/>
                <a:gd name="T12" fmla="*/ 894 w 1056"/>
                <a:gd name="T13" fmla="*/ 145 h 528"/>
                <a:gd name="T14" fmla="*/ 933 w 1056"/>
                <a:gd name="T15" fmla="*/ 159 h 528"/>
                <a:gd name="T16" fmla="*/ 351 w 1056"/>
                <a:gd name="T17" fmla="*/ 247 h 528"/>
                <a:gd name="T18" fmla="*/ 223 w 1056"/>
                <a:gd name="T19" fmla="*/ 223 h 528"/>
                <a:gd name="T20" fmla="*/ 120 w 1056"/>
                <a:gd name="T21" fmla="*/ 178 h 528"/>
                <a:gd name="T22" fmla="*/ 3 w 1056"/>
                <a:gd name="T23" fmla="*/ 137 h 528"/>
                <a:gd name="T24" fmla="*/ 24 w 1056"/>
                <a:gd name="T25" fmla="*/ 275 h 528"/>
                <a:gd name="T26" fmla="*/ 49 w 1056"/>
                <a:gd name="T27" fmla="*/ 291 h 528"/>
                <a:gd name="T28" fmla="*/ 24 w 1056"/>
                <a:gd name="T29" fmla="*/ 174 h 528"/>
                <a:gd name="T30" fmla="*/ 106 w 1056"/>
                <a:gd name="T31" fmla="*/ 228 h 528"/>
                <a:gd name="T32" fmla="*/ 255 w 1056"/>
                <a:gd name="T33" fmla="*/ 306 h 528"/>
                <a:gd name="T34" fmla="*/ 269 w 1056"/>
                <a:gd name="T35" fmla="*/ 426 h 528"/>
                <a:gd name="T36" fmla="*/ 632 w 1056"/>
                <a:gd name="T37" fmla="*/ 515 h 528"/>
                <a:gd name="T38" fmla="*/ 760 w 1056"/>
                <a:gd name="T39" fmla="*/ 352 h 528"/>
                <a:gd name="T40" fmla="*/ 799 w 1056"/>
                <a:gd name="T41" fmla="*/ 428 h 528"/>
                <a:gd name="T42" fmla="*/ 834 w 1056"/>
                <a:gd name="T43" fmla="*/ 459 h 528"/>
                <a:gd name="T44" fmla="*/ 1030 w 1056"/>
                <a:gd name="T45" fmla="*/ 203 h 528"/>
                <a:gd name="T46" fmla="*/ 1045 w 1056"/>
                <a:gd name="T47" fmla="*/ 145 h 528"/>
                <a:gd name="T48" fmla="*/ 294 w 1056"/>
                <a:gd name="T49" fmla="*/ 312 h 528"/>
                <a:gd name="T50" fmla="*/ 367 w 1056"/>
                <a:gd name="T51" fmla="*/ 485 h 528"/>
                <a:gd name="T52" fmla="*/ 427 w 1056"/>
                <a:gd name="T53" fmla="*/ 490 h 528"/>
                <a:gd name="T54" fmla="*/ 385 w 1056"/>
                <a:gd name="T55" fmla="*/ 316 h 528"/>
                <a:gd name="T56" fmla="*/ 427 w 1056"/>
                <a:gd name="T57" fmla="*/ 490 h 528"/>
                <a:gd name="T58" fmla="*/ 881 w 1056"/>
                <a:gd name="T59" fmla="*/ 425 h 528"/>
                <a:gd name="T60" fmla="*/ 933 w 1056"/>
                <a:gd name="T61" fmla="*/ 228 h 528"/>
                <a:gd name="T62" fmla="*/ 990 w 1056"/>
                <a:gd name="T63" fmla="*/ 150 h 528"/>
                <a:gd name="T64" fmla="*/ 941 w 1056"/>
                <a:gd name="T65" fmla="*/ 139 h 528"/>
                <a:gd name="T66" fmla="*/ 980 w 1056"/>
                <a:gd name="T67" fmla="*/ 352 h 528"/>
                <a:gd name="T68" fmla="*/ 958 w 1056"/>
                <a:gd name="T69" fmla="*/ 220 h 528"/>
                <a:gd name="T70" fmla="*/ 980 w 1056"/>
                <a:gd name="T71" fmla="*/ 352 h 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56" h="528">
                  <a:moveTo>
                    <a:pt x="1045" y="145"/>
                  </a:moveTo>
                  <a:cubicBezTo>
                    <a:pt x="1034" y="135"/>
                    <a:pt x="957" y="94"/>
                    <a:pt x="955" y="99"/>
                  </a:cubicBezTo>
                  <a:cubicBezTo>
                    <a:pt x="954" y="104"/>
                    <a:pt x="804" y="44"/>
                    <a:pt x="804" y="44"/>
                  </a:cubicBezTo>
                  <a:lnTo>
                    <a:pt x="779" y="44"/>
                  </a:lnTo>
                  <a:lnTo>
                    <a:pt x="683" y="17"/>
                  </a:lnTo>
                  <a:cubicBezTo>
                    <a:pt x="599" y="0"/>
                    <a:pt x="564" y="46"/>
                    <a:pt x="564" y="46"/>
                  </a:cubicBezTo>
                  <a:cubicBezTo>
                    <a:pt x="564" y="46"/>
                    <a:pt x="451" y="159"/>
                    <a:pt x="443" y="170"/>
                  </a:cubicBezTo>
                  <a:cubicBezTo>
                    <a:pt x="435" y="181"/>
                    <a:pt x="442" y="182"/>
                    <a:pt x="442" y="182"/>
                  </a:cubicBezTo>
                  <a:cubicBezTo>
                    <a:pt x="453" y="207"/>
                    <a:pt x="489" y="206"/>
                    <a:pt x="508" y="176"/>
                  </a:cubicBezTo>
                  <a:cubicBezTo>
                    <a:pt x="526" y="146"/>
                    <a:pt x="550" y="118"/>
                    <a:pt x="583" y="72"/>
                  </a:cubicBezTo>
                  <a:cubicBezTo>
                    <a:pt x="616" y="27"/>
                    <a:pt x="677" y="49"/>
                    <a:pt x="677" y="49"/>
                  </a:cubicBezTo>
                  <a:lnTo>
                    <a:pt x="778" y="82"/>
                  </a:lnTo>
                  <a:lnTo>
                    <a:pt x="781" y="96"/>
                  </a:lnTo>
                  <a:lnTo>
                    <a:pt x="894" y="145"/>
                  </a:lnTo>
                  <a:lnTo>
                    <a:pt x="917" y="141"/>
                  </a:lnTo>
                  <a:lnTo>
                    <a:pt x="933" y="159"/>
                  </a:lnTo>
                  <a:cubicBezTo>
                    <a:pt x="933" y="159"/>
                    <a:pt x="617" y="226"/>
                    <a:pt x="580" y="234"/>
                  </a:cubicBezTo>
                  <a:cubicBezTo>
                    <a:pt x="542" y="242"/>
                    <a:pt x="442" y="253"/>
                    <a:pt x="351" y="247"/>
                  </a:cubicBezTo>
                  <a:cubicBezTo>
                    <a:pt x="259" y="240"/>
                    <a:pt x="248" y="228"/>
                    <a:pt x="248" y="228"/>
                  </a:cubicBezTo>
                  <a:lnTo>
                    <a:pt x="223" y="223"/>
                  </a:lnTo>
                  <a:lnTo>
                    <a:pt x="137" y="179"/>
                  </a:lnTo>
                  <a:lnTo>
                    <a:pt x="120" y="178"/>
                  </a:lnTo>
                  <a:cubicBezTo>
                    <a:pt x="120" y="178"/>
                    <a:pt x="46" y="138"/>
                    <a:pt x="27" y="130"/>
                  </a:cubicBezTo>
                  <a:cubicBezTo>
                    <a:pt x="8" y="123"/>
                    <a:pt x="3" y="137"/>
                    <a:pt x="3" y="137"/>
                  </a:cubicBezTo>
                  <a:cubicBezTo>
                    <a:pt x="0" y="170"/>
                    <a:pt x="30" y="250"/>
                    <a:pt x="30" y="250"/>
                  </a:cubicBezTo>
                  <a:cubicBezTo>
                    <a:pt x="19" y="253"/>
                    <a:pt x="24" y="275"/>
                    <a:pt x="24" y="275"/>
                  </a:cubicBezTo>
                  <a:lnTo>
                    <a:pt x="35" y="286"/>
                  </a:lnTo>
                  <a:lnTo>
                    <a:pt x="49" y="291"/>
                  </a:lnTo>
                  <a:cubicBezTo>
                    <a:pt x="66" y="281"/>
                    <a:pt x="47" y="237"/>
                    <a:pt x="41" y="225"/>
                  </a:cubicBezTo>
                  <a:cubicBezTo>
                    <a:pt x="35" y="212"/>
                    <a:pt x="24" y="174"/>
                    <a:pt x="24" y="174"/>
                  </a:cubicBezTo>
                  <a:cubicBezTo>
                    <a:pt x="32" y="182"/>
                    <a:pt x="106" y="218"/>
                    <a:pt x="106" y="218"/>
                  </a:cubicBezTo>
                  <a:lnTo>
                    <a:pt x="106" y="228"/>
                  </a:lnTo>
                  <a:lnTo>
                    <a:pt x="245" y="305"/>
                  </a:lnTo>
                  <a:lnTo>
                    <a:pt x="255" y="306"/>
                  </a:lnTo>
                  <a:lnTo>
                    <a:pt x="253" y="382"/>
                  </a:lnTo>
                  <a:cubicBezTo>
                    <a:pt x="253" y="382"/>
                    <a:pt x="256" y="412"/>
                    <a:pt x="269" y="426"/>
                  </a:cubicBezTo>
                  <a:cubicBezTo>
                    <a:pt x="281" y="440"/>
                    <a:pt x="388" y="515"/>
                    <a:pt x="388" y="515"/>
                  </a:cubicBezTo>
                  <a:cubicBezTo>
                    <a:pt x="388" y="515"/>
                    <a:pt x="583" y="528"/>
                    <a:pt x="632" y="515"/>
                  </a:cubicBezTo>
                  <a:cubicBezTo>
                    <a:pt x="680" y="503"/>
                    <a:pt x="686" y="481"/>
                    <a:pt x="686" y="481"/>
                  </a:cubicBezTo>
                  <a:lnTo>
                    <a:pt x="760" y="352"/>
                  </a:lnTo>
                  <a:cubicBezTo>
                    <a:pt x="760" y="352"/>
                    <a:pt x="773" y="339"/>
                    <a:pt x="784" y="342"/>
                  </a:cubicBezTo>
                  <a:cubicBezTo>
                    <a:pt x="795" y="346"/>
                    <a:pt x="796" y="417"/>
                    <a:pt x="799" y="428"/>
                  </a:cubicBezTo>
                  <a:cubicBezTo>
                    <a:pt x="803" y="443"/>
                    <a:pt x="815" y="454"/>
                    <a:pt x="815" y="454"/>
                  </a:cubicBezTo>
                  <a:cubicBezTo>
                    <a:pt x="815" y="454"/>
                    <a:pt x="822" y="462"/>
                    <a:pt x="834" y="459"/>
                  </a:cubicBezTo>
                  <a:cubicBezTo>
                    <a:pt x="847" y="455"/>
                    <a:pt x="949" y="418"/>
                    <a:pt x="987" y="363"/>
                  </a:cubicBezTo>
                  <a:cubicBezTo>
                    <a:pt x="987" y="363"/>
                    <a:pt x="1025" y="254"/>
                    <a:pt x="1030" y="203"/>
                  </a:cubicBezTo>
                  <a:lnTo>
                    <a:pt x="1049" y="192"/>
                  </a:lnTo>
                  <a:cubicBezTo>
                    <a:pt x="1056" y="178"/>
                    <a:pt x="1045" y="145"/>
                    <a:pt x="1045" y="145"/>
                  </a:cubicBezTo>
                  <a:close/>
                  <a:moveTo>
                    <a:pt x="298" y="432"/>
                  </a:moveTo>
                  <a:lnTo>
                    <a:pt x="294" y="312"/>
                  </a:lnTo>
                  <a:lnTo>
                    <a:pt x="354" y="324"/>
                  </a:lnTo>
                  <a:lnTo>
                    <a:pt x="367" y="485"/>
                  </a:lnTo>
                  <a:lnTo>
                    <a:pt x="298" y="432"/>
                  </a:lnTo>
                  <a:close/>
                  <a:moveTo>
                    <a:pt x="427" y="490"/>
                  </a:moveTo>
                  <a:cubicBezTo>
                    <a:pt x="427" y="490"/>
                    <a:pt x="407" y="494"/>
                    <a:pt x="399" y="493"/>
                  </a:cubicBezTo>
                  <a:cubicBezTo>
                    <a:pt x="399" y="493"/>
                    <a:pt x="363" y="401"/>
                    <a:pt x="385" y="316"/>
                  </a:cubicBezTo>
                  <a:lnTo>
                    <a:pt x="478" y="315"/>
                  </a:lnTo>
                  <a:lnTo>
                    <a:pt x="427" y="490"/>
                  </a:lnTo>
                  <a:close/>
                  <a:moveTo>
                    <a:pt x="916" y="402"/>
                  </a:moveTo>
                  <a:lnTo>
                    <a:pt x="881" y="425"/>
                  </a:lnTo>
                  <a:lnTo>
                    <a:pt x="888" y="239"/>
                  </a:lnTo>
                  <a:lnTo>
                    <a:pt x="933" y="228"/>
                  </a:lnTo>
                  <a:lnTo>
                    <a:pt x="916" y="402"/>
                  </a:lnTo>
                  <a:close/>
                  <a:moveTo>
                    <a:pt x="990" y="150"/>
                  </a:moveTo>
                  <a:lnTo>
                    <a:pt x="945" y="154"/>
                  </a:lnTo>
                  <a:lnTo>
                    <a:pt x="941" y="139"/>
                  </a:lnTo>
                  <a:lnTo>
                    <a:pt x="990" y="150"/>
                  </a:lnTo>
                  <a:close/>
                  <a:moveTo>
                    <a:pt x="980" y="352"/>
                  </a:moveTo>
                  <a:cubicBezTo>
                    <a:pt x="980" y="352"/>
                    <a:pt x="962" y="379"/>
                    <a:pt x="944" y="387"/>
                  </a:cubicBezTo>
                  <a:lnTo>
                    <a:pt x="958" y="220"/>
                  </a:lnTo>
                  <a:lnTo>
                    <a:pt x="1012" y="205"/>
                  </a:lnTo>
                  <a:lnTo>
                    <a:pt x="980" y="352"/>
                  </a:lnTo>
                  <a:close/>
                </a:path>
              </a:pathLst>
            </a:custGeom>
            <a:solidFill>
              <a:srgbClr val="00206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1026" name="Picture 2" descr="Financial Charts - Investing.com">
            <a:extLst>
              <a:ext uri="{FF2B5EF4-FFF2-40B4-BE49-F238E27FC236}">
                <a16:creationId xmlns:a16="http://schemas.microsoft.com/office/drawing/2014/main" id="{072231AA-172A-4B44-ACF5-C5F4C48F29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8263" y="1230496"/>
            <a:ext cx="3815081" cy="2145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406860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7" grpId="0" animBg="1"/>
      <p:bldP spid="41" grpId="0" animBg="1"/>
      <p:bldP spid="42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uadroTexto 11">
            <a:extLst>
              <a:ext uri="{FF2B5EF4-FFF2-40B4-BE49-F238E27FC236}">
                <a16:creationId xmlns:a16="http://schemas.microsoft.com/office/drawing/2014/main" id="{8948FA8D-EDF1-429F-8530-FD8D04815F2B}"/>
              </a:ext>
            </a:extLst>
          </p:cNvPr>
          <p:cNvSpPr txBox="1"/>
          <p:nvPr/>
        </p:nvSpPr>
        <p:spPr>
          <a:xfrm>
            <a:off x="5729681" y="304358"/>
            <a:ext cx="6579765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3200" dirty="0"/>
              <a:t>Modelado de Series Temporales con Redes Neuronales</a:t>
            </a:r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F2495241-AF14-4361-861E-3C23B778585E}"/>
              </a:ext>
            </a:extLst>
          </p:cNvPr>
          <p:cNvSpPr txBox="1"/>
          <p:nvPr/>
        </p:nvSpPr>
        <p:spPr>
          <a:xfrm>
            <a:off x="209723" y="1420094"/>
            <a:ext cx="54259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/>
            </a:lvl1pPr>
          </a:lstStyle>
          <a:p>
            <a:r>
              <a:rPr lang="es-ES" dirty="0"/>
              <a:t>Redes Neuronales Recurrentes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9" name="CustomShape 10">
                <a:extLst>
                  <a:ext uri="{FF2B5EF4-FFF2-40B4-BE49-F238E27FC236}">
                    <a16:creationId xmlns:a16="http://schemas.microsoft.com/office/drawing/2014/main" id="{C8EEB743-BC63-4E2E-BD23-706121F8C64E}"/>
                  </a:ext>
                </a:extLst>
              </p:cNvPr>
              <p:cNvSpPr/>
              <p:nvPr/>
            </p:nvSpPr>
            <p:spPr>
              <a:xfrm>
                <a:off x="462952" y="2027219"/>
                <a:ext cx="11256297" cy="1050168"/>
              </a:xfrm>
              <a:prstGeom prst="rect">
                <a:avLst/>
              </a:prstGeom>
              <a:solidFill>
                <a:srgbClr val="FFFFFF">
                  <a:alpha val="56000"/>
                </a:srgbClr>
              </a:solidFill>
              <a:ln>
                <a:solidFill>
                  <a:srgbClr val="001C54"/>
                </a:solidFill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/>
            </p:style>
            <p:txBody>
              <a:bodyPr lIns="90000" tIns="45000" rIns="90000" bIns="45000"/>
              <a:lstStyle/>
              <a:p>
                <a:pPr>
                  <a:lnSpc>
                    <a:spcPct val="100000"/>
                  </a:lnSpc>
                </a:pPr>
                <a:r>
                  <a:rPr lang="es-ES" sz="1400" b="0" strike="noStrike" spc="-1" dirty="0">
                    <a:solidFill>
                      <a:srgbClr val="001C54"/>
                    </a:solidFill>
                    <a:uFill>
                      <a:solidFill>
                        <a:srgbClr val="FFFFFF"/>
                      </a:solidFill>
                    </a:uFill>
                  </a:rPr>
                  <a:t>Las </a:t>
                </a:r>
                <a:r>
                  <a:rPr lang="es-ES" sz="1400" b="0" strike="noStrike" spc="-1" dirty="0" err="1">
                    <a:solidFill>
                      <a:srgbClr val="001C54"/>
                    </a:solidFill>
                    <a:uFill>
                      <a:solidFill>
                        <a:srgbClr val="FFFFFF"/>
                      </a:solidFill>
                    </a:uFill>
                  </a:rPr>
                  <a:t>LSTM’s</a:t>
                </a:r>
                <a:r>
                  <a:rPr lang="es-ES" sz="1400" b="0" strike="noStrike" spc="-1" dirty="0">
                    <a:solidFill>
                      <a:srgbClr val="001C54"/>
                    </a:solidFill>
                    <a:uFill>
                      <a:solidFill>
                        <a:srgbClr val="FFFFFF"/>
                      </a:solidFill>
                    </a:uFill>
                  </a:rPr>
                  <a:t> son tipos de redes neuronales recurrentes (RNN)</a:t>
                </a:r>
              </a:p>
              <a:p>
                <a:pPr marL="285750" indent="-285750">
                  <a:lnSpc>
                    <a:spcPct val="100000"/>
                  </a:lnSpc>
                  <a:buFont typeface="Arial" panose="020B0604020202020204" pitchFamily="34" charset="0"/>
                  <a:buChar char="•"/>
                </a:pPr>
                <a:r>
                  <a:rPr lang="es-ES" sz="1400" spc="-1" dirty="0">
                    <a:solidFill>
                      <a:srgbClr val="001C54"/>
                    </a:solidFill>
                    <a:uFill>
                      <a:solidFill>
                        <a:srgbClr val="FFFFFF"/>
                      </a:solidFill>
                    </a:uFill>
                  </a:rPr>
                  <a:t>Una Red Neuronal Recurrente es un tipo de red que incluye un “contexto”, lo que es una conexión que da como input el resultado de </a:t>
                </a:r>
                <a14:m>
                  <m:oMath xmlns:m="http://schemas.openxmlformats.org/officeDocument/2006/math">
                    <m:r>
                      <a:rPr lang="es-ES" sz="1400" b="0" i="1" spc="-1" smtClean="0">
                        <a:solidFill>
                          <a:srgbClr val="001C54"/>
                        </a:solidFill>
                        <a:uFill>
                          <a:solidFill>
                            <a:srgbClr val="FFFFFF"/>
                          </a:solidFill>
                        </a:uFill>
                        <a:latin typeface="Cambria Math" panose="02040503050406030204" pitchFamily="18" charset="0"/>
                      </a:rPr>
                      <m:t>𝑡</m:t>
                    </m:r>
                    <m:r>
                      <a:rPr lang="es-ES" sz="1400" b="0" i="1" spc="-1" smtClean="0">
                        <a:solidFill>
                          <a:srgbClr val="001C54"/>
                        </a:solidFill>
                        <a:uFill>
                          <a:solidFill>
                            <a:srgbClr val="FFFFFF"/>
                          </a:solidFill>
                        </a:uFill>
                        <a:latin typeface="Cambria Math" panose="02040503050406030204" pitchFamily="18" charset="0"/>
                      </a:rPr>
                      <m:t>−1</m:t>
                    </m:r>
                  </m:oMath>
                </a14:m>
                <a:r>
                  <a:rPr lang="es-ES" sz="1400" b="0" strike="noStrike" spc="-1" dirty="0">
                    <a:solidFill>
                      <a:srgbClr val="001C54"/>
                    </a:solidFill>
                    <a:uFill>
                      <a:solidFill>
                        <a:srgbClr val="FFFFFF"/>
                      </a:solidFill>
                    </a:uFill>
                  </a:rPr>
                  <a:t> a la celda en </a:t>
                </a:r>
                <a14:m>
                  <m:oMath xmlns:m="http://schemas.openxmlformats.org/officeDocument/2006/math">
                    <m:r>
                      <a:rPr lang="es-ES" sz="1400" b="0" i="1" strike="noStrike" spc="-1" smtClean="0">
                        <a:solidFill>
                          <a:srgbClr val="001C54"/>
                        </a:solidFill>
                        <a:uFill>
                          <a:solidFill>
                            <a:srgbClr val="FFFFFF"/>
                          </a:solidFill>
                        </a:uFill>
                        <a:latin typeface="Cambria Math" panose="02040503050406030204" pitchFamily="18" charset="0"/>
                      </a:rPr>
                      <m:t>𝑡</m:t>
                    </m:r>
                    <m:r>
                      <a:rPr lang="es-ES" sz="1400" b="0" i="1" strike="noStrike" spc="-1" smtClean="0">
                        <a:solidFill>
                          <a:srgbClr val="001C54"/>
                        </a:solidFill>
                        <a:uFill>
                          <a:solidFill>
                            <a:srgbClr val="FFFFFF"/>
                          </a:solidFill>
                        </a:uFill>
                        <a:latin typeface="Cambria Math" panose="02040503050406030204" pitchFamily="18" charset="0"/>
                      </a:rPr>
                      <m:t>.</m:t>
                    </m:r>
                  </m:oMath>
                </a14:m>
                <a:endParaRPr lang="es-ES" sz="1400" b="0" strike="noStrike" spc="-1" dirty="0">
                  <a:solidFill>
                    <a:srgbClr val="001C54"/>
                  </a:solidFill>
                  <a:uFill>
                    <a:solidFill>
                      <a:srgbClr val="FFFFFF"/>
                    </a:solidFill>
                  </a:uFill>
                </a:endParaRPr>
              </a:p>
            </p:txBody>
          </p:sp>
        </mc:Choice>
        <mc:Fallback>
          <p:sp>
            <p:nvSpPr>
              <p:cNvPr id="19" name="CustomShape 10">
                <a:extLst>
                  <a:ext uri="{FF2B5EF4-FFF2-40B4-BE49-F238E27FC236}">
                    <a16:creationId xmlns:a16="http://schemas.microsoft.com/office/drawing/2014/main" id="{C8EEB743-BC63-4E2E-BD23-706121F8C64E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2952" y="2027219"/>
                <a:ext cx="11256297" cy="1050168"/>
              </a:xfrm>
              <a:prstGeom prst="rect">
                <a:avLst/>
              </a:prstGeom>
              <a:blipFill>
                <a:blip r:embed="rId2"/>
                <a:stretch>
                  <a:fillRect l="-108" t="-575"/>
                </a:stretch>
              </a:blipFill>
              <a:ln>
                <a:solidFill>
                  <a:srgbClr val="001C54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Elipse 2">
            <a:extLst>
              <a:ext uri="{FF2B5EF4-FFF2-40B4-BE49-F238E27FC236}">
                <a16:creationId xmlns:a16="http://schemas.microsoft.com/office/drawing/2014/main" id="{1FCBC429-1946-409E-A6AD-4F6612842B66}"/>
              </a:ext>
            </a:extLst>
          </p:cNvPr>
          <p:cNvSpPr/>
          <p:nvPr/>
        </p:nvSpPr>
        <p:spPr>
          <a:xfrm>
            <a:off x="2676088" y="4093828"/>
            <a:ext cx="1107347" cy="105016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dirty="0"/>
              <a:t>H1</a:t>
            </a:r>
            <a:endParaRPr lang="en-US" dirty="0"/>
          </a:p>
        </p:txBody>
      </p:sp>
      <p:sp>
        <p:nvSpPr>
          <p:cNvPr id="21" name="Elipse 20">
            <a:extLst>
              <a:ext uri="{FF2B5EF4-FFF2-40B4-BE49-F238E27FC236}">
                <a16:creationId xmlns:a16="http://schemas.microsoft.com/office/drawing/2014/main" id="{834FBBA3-9892-43FD-B20E-6D3059D8A8B2}"/>
              </a:ext>
            </a:extLst>
          </p:cNvPr>
          <p:cNvSpPr/>
          <p:nvPr/>
        </p:nvSpPr>
        <p:spPr>
          <a:xfrm>
            <a:off x="5729681" y="4093828"/>
            <a:ext cx="1107347" cy="1050168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dirty="0"/>
              <a:t>C1</a:t>
            </a:r>
            <a:endParaRPr lang="en-US" dirty="0"/>
          </a:p>
        </p:txBody>
      </p:sp>
      <p:sp>
        <p:nvSpPr>
          <p:cNvPr id="22" name="Elipse 21">
            <a:extLst>
              <a:ext uri="{FF2B5EF4-FFF2-40B4-BE49-F238E27FC236}">
                <a16:creationId xmlns:a16="http://schemas.microsoft.com/office/drawing/2014/main" id="{B1559315-B528-428C-97E3-C210E48D6CB7}"/>
              </a:ext>
            </a:extLst>
          </p:cNvPr>
          <p:cNvSpPr/>
          <p:nvPr/>
        </p:nvSpPr>
        <p:spPr>
          <a:xfrm>
            <a:off x="5729681" y="5637402"/>
            <a:ext cx="1107347" cy="1050168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dirty="0"/>
              <a:t>C2</a:t>
            </a:r>
            <a:endParaRPr lang="en-US" dirty="0"/>
          </a:p>
        </p:txBody>
      </p:sp>
      <p:sp>
        <p:nvSpPr>
          <p:cNvPr id="23" name="Elipse 22">
            <a:extLst>
              <a:ext uri="{FF2B5EF4-FFF2-40B4-BE49-F238E27FC236}">
                <a16:creationId xmlns:a16="http://schemas.microsoft.com/office/drawing/2014/main" id="{DDF7AB23-4A1B-479B-BDC8-A54BEE8C8630}"/>
              </a:ext>
            </a:extLst>
          </p:cNvPr>
          <p:cNvSpPr/>
          <p:nvPr/>
        </p:nvSpPr>
        <p:spPr>
          <a:xfrm>
            <a:off x="2676088" y="5637402"/>
            <a:ext cx="1107347" cy="105016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dirty="0"/>
              <a:t>H2</a:t>
            </a:r>
            <a:endParaRPr lang="en-US" dirty="0"/>
          </a:p>
        </p:txBody>
      </p:sp>
      <p:cxnSp>
        <p:nvCxnSpPr>
          <p:cNvPr id="5" name="Conector recto de flecha 4">
            <a:extLst>
              <a:ext uri="{FF2B5EF4-FFF2-40B4-BE49-F238E27FC236}">
                <a16:creationId xmlns:a16="http://schemas.microsoft.com/office/drawing/2014/main" id="{70927B65-0F45-4B7E-A211-302565603D0C}"/>
              </a:ext>
            </a:extLst>
          </p:cNvPr>
          <p:cNvCxnSpPr>
            <a:endCxn id="3" idx="2"/>
          </p:cNvCxnSpPr>
          <p:nvPr/>
        </p:nvCxnSpPr>
        <p:spPr>
          <a:xfrm>
            <a:off x="1501629" y="4618912"/>
            <a:ext cx="1174459" cy="0"/>
          </a:xfrm>
          <a:prstGeom prst="straightConnector1">
            <a:avLst/>
          </a:prstGeom>
          <a:ln>
            <a:solidFill>
              <a:schemeClr val="accent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Conector recto de flecha 23">
            <a:extLst>
              <a:ext uri="{FF2B5EF4-FFF2-40B4-BE49-F238E27FC236}">
                <a16:creationId xmlns:a16="http://schemas.microsoft.com/office/drawing/2014/main" id="{78074718-9DCF-4182-A9B9-427B63FF6DF7}"/>
              </a:ext>
            </a:extLst>
          </p:cNvPr>
          <p:cNvCxnSpPr/>
          <p:nvPr/>
        </p:nvCxnSpPr>
        <p:spPr>
          <a:xfrm>
            <a:off x="1501629" y="6162486"/>
            <a:ext cx="1174459" cy="0"/>
          </a:xfrm>
          <a:prstGeom prst="straightConnector1">
            <a:avLst/>
          </a:prstGeom>
          <a:ln>
            <a:solidFill>
              <a:schemeClr val="accent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orma libre: forma 6">
            <a:extLst>
              <a:ext uri="{FF2B5EF4-FFF2-40B4-BE49-F238E27FC236}">
                <a16:creationId xmlns:a16="http://schemas.microsoft.com/office/drawing/2014/main" id="{19CAA9FF-5467-459E-8367-D97E5BE00C38}"/>
              </a:ext>
            </a:extLst>
          </p:cNvPr>
          <p:cNvSpPr/>
          <p:nvPr/>
        </p:nvSpPr>
        <p:spPr>
          <a:xfrm>
            <a:off x="3414319" y="3741421"/>
            <a:ext cx="2650921" cy="394351"/>
          </a:xfrm>
          <a:custGeom>
            <a:avLst/>
            <a:gdLst>
              <a:gd name="connsiteX0" fmla="*/ 0 w 2650921"/>
              <a:gd name="connsiteY0" fmla="*/ 369185 h 394351"/>
              <a:gd name="connsiteX1" fmla="*/ 1157681 w 2650921"/>
              <a:gd name="connsiteY1" fmla="*/ 69 h 394351"/>
              <a:gd name="connsiteX2" fmla="*/ 2650921 w 2650921"/>
              <a:gd name="connsiteY2" fmla="*/ 394351 h 3943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650921" h="394351">
                <a:moveTo>
                  <a:pt x="0" y="369185"/>
                </a:moveTo>
                <a:cubicBezTo>
                  <a:pt x="357930" y="182530"/>
                  <a:pt x="715861" y="-4125"/>
                  <a:pt x="1157681" y="69"/>
                </a:cubicBezTo>
                <a:cubicBezTo>
                  <a:pt x="1599501" y="4263"/>
                  <a:pt x="2418826" y="330036"/>
                  <a:pt x="2650921" y="394351"/>
                </a:cubicBezTo>
              </a:path>
            </a:pathLst>
          </a:custGeom>
          <a:noFill/>
          <a:ln>
            <a:solidFill>
              <a:schemeClr val="accent2">
                <a:lumMod val="50000"/>
              </a:schemeClr>
            </a:solidFill>
            <a:headEnd type="triangle"/>
            <a:tailEnd type="non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orma libre: forma 7">
            <a:extLst>
              <a:ext uri="{FF2B5EF4-FFF2-40B4-BE49-F238E27FC236}">
                <a16:creationId xmlns:a16="http://schemas.microsoft.com/office/drawing/2014/main" id="{AEE8D8EB-1C1A-4195-81FB-516372C9BF27}"/>
              </a:ext>
            </a:extLst>
          </p:cNvPr>
          <p:cNvSpPr/>
          <p:nvPr/>
        </p:nvSpPr>
        <p:spPr>
          <a:xfrm>
            <a:off x="2436948" y="4874004"/>
            <a:ext cx="3343067" cy="1082179"/>
          </a:xfrm>
          <a:custGeom>
            <a:avLst/>
            <a:gdLst>
              <a:gd name="connsiteX0" fmla="*/ 3343067 w 3343067"/>
              <a:gd name="connsiteY0" fmla="*/ 0 h 1082179"/>
              <a:gd name="connsiteX1" fmla="*/ 306252 w 3343067"/>
              <a:gd name="connsiteY1" fmla="*/ 478172 h 1082179"/>
              <a:gd name="connsiteX2" fmla="*/ 264307 w 3343067"/>
              <a:gd name="connsiteY2" fmla="*/ 1082179 h 10821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343067" h="1082179">
                <a:moveTo>
                  <a:pt x="3343067" y="0"/>
                </a:moveTo>
                <a:cubicBezTo>
                  <a:pt x="2081223" y="148904"/>
                  <a:pt x="819379" y="297809"/>
                  <a:pt x="306252" y="478172"/>
                </a:cubicBezTo>
                <a:cubicBezTo>
                  <a:pt x="-206875" y="658535"/>
                  <a:pt x="28716" y="870357"/>
                  <a:pt x="264307" y="1082179"/>
                </a:cubicBezTo>
              </a:path>
            </a:pathLst>
          </a:custGeom>
          <a:noFill/>
          <a:ln>
            <a:solidFill>
              <a:schemeClr val="accent3">
                <a:lumMod val="50000"/>
              </a:schemeClr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orma libre: forma 9">
            <a:extLst>
              <a:ext uri="{FF2B5EF4-FFF2-40B4-BE49-F238E27FC236}">
                <a16:creationId xmlns:a16="http://schemas.microsoft.com/office/drawing/2014/main" id="{0B638226-8D76-445F-99C7-DFE9A34AA56E}"/>
              </a:ext>
            </a:extLst>
          </p:cNvPr>
          <p:cNvSpPr/>
          <p:nvPr/>
        </p:nvSpPr>
        <p:spPr>
          <a:xfrm>
            <a:off x="3238150" y="6551802"/>
            <a:ext cx="2676089" cy="330592"/>
          </a:xfrm>
          <a:custGeom>
            <a:avLst/>
            <a:gdLst>
              <a:gd name="connsiteX0" fmla="*/ 2676089 w 2676089"/>
              <a:gd name="connsiteY0" fmla="*/ 0 h 330592"/>
              <a:gd name="connsiteX1" fmla="*/ 1510019 w 2676089"/>
              <a:gd name="connsiteY1" fmla="*/ 327170 h 330592"/>
              <a:gd name="connsiteX2" fmla="*/ 0 w 2676089"/>
              <a:gd name="connsiteY2" fmla="*/ 142613 h 330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676089" h="330592">
                <a:moveTo>
                  <a:pt x="2676089" y="0"/>
                </a:moveTo>
                <a:cubicBezTo>
                  <a:pt x="2316061" y="151700"/>
                  <a:pt x="1956034" y="303401"/>
                  <a:pt x="1510019" y="327170"/>
                </a:cubicBezTo>
                <a:cubicBezTo>
                  <a:pt x="1064004" y="350939"/>
                  <a:pt x="532002" y="246776"/>
                  <a:pt x="0" y="142613"/>
                </a:cubicBezTo>
              </a:path>
            </a:pathLst>
          </a:custGeom>
          <a:noFill/>
          <a:ln>
            <a:solidFill>
              <a:schemeClr val="accent2">
                <a:lumMod val="50000"/>
              </a:schemeClr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Forma libre: forma 10">
            <a:extLst>
              <a:ext uri="{FF2B5EF4-FFF2-40B4-BE49-F238E27FC236}">
                <a16:creationId xmlns:a16="http://schemas.microsoft.com/office/drawing/2014/main" id="{02B1F7DE-609F-4F10-9056-96F77ABC9E54}"/>
              </a:ext>
            </a:extLst>
          </p:cNvPr>
          <p:cNvSpPr/>
          <p:nvPr/>
        </p:nvSpPr>
        <p:spPr>
          <a:xfrm>
            <a:off x="2277039" y="4823670"/>
            <a:ext cx="3729478" cy="864066"/>
          </a:xfrm>
          <a:custGeom>
            <a:avLst/>
            <a:gdLst>
              <a:gd name="connsiteX0" fmla="*/ 3729478 w 3729478"/>
              <a:gd name="connsiteY0" fmla="*/ 864066 h 864066"/>
              <a:gd name="connsiteX1" fmla="*/ 289992 w 3729478"/>
              <a:gd name="connsiteY1" fmla="*/ 453005 h 864066"/>
              <a:gd name="connsiteX2" fmla="*/ 424216 w 3729478"/>
              <a:gd name="connsiteY2" fmla="*/ 0 h 8640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729478" h="864066">
                <a:moveTo>
                  <a:pt x="3729478" y="864066"/>
                </a:moveTo>
                <a:cubicBezTo>
                  <a:pt x="2285173" y="730541"/>
                  <a:pt x="840869" y="597016"/>
                  <a:pt x="289992" y="453005"/>
                </a:cubicBezTo>
                <a:cubicBezTo>
                  <a:pt x="-260885" y="308994"/>
                  <a:pt x="81665" y="154497"/>
                  <a:pt x="424216" y="0"/>
                </a:cubicBezTo>
              </a:path>
            </a:pathLst>
          </a:custGeom>
          <a:noFill/>
          <a:ln>
            <a:solidFill>
              <a:schemeClr val="accent2">
                <a:lumMod val="50000"/>
              </a:schemeClr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Forma libre: forma 24">
            <a:extLst>
              <a:ext uri="{FF2B5EF4-FFF2-40B4-BE49-F238E27FC236}">
                <a16:creationId xmlns:a16="http://schemas.microsoft.com/office/drawing/2014/main" id="{B7D5C34A-D3BA-426C-9348-6478841E0AED}"/>
              </a:ext>
            </a:extLst>
          </p:cNvPr>
          <p:cNvSpPr/>
          <p:nvPr/>
        </p:nvSpPr>
        <p:spPr>
          <a:xfrm>
            <a:off x="3716323" y="4857226"/>
            <a:ext cx="3858936" cy="549113"/>
          </a:xfrm>
          <a:custGeom>
            <a:avLst/>
            <a:gdLst>
              <a:gd name="connsiteX0" fmla="*/ 0 w 3858936"/>
              <a:gd name="connsiteY0" fmla="*/ 0 h 549113"/>
              <a:gd name="connsiteX1" fmla="*/ 2592198 w 3858936"/>
              <a:gd name="connsiteY1" fmla="*/ 503339 h 549113"/>
              <a:gd name="connsiteX2" fmla="*/ 3858936 w 3858936"/>
              <a:gd name="connsiteY2" fmla="*/ 494950 h 5491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858936" h="549113">
                <a:moveTo>
                  <a:pt x="0" y="0"/>
                </a:moveTo>
                <a:cubicBezTo>
                  <a:pt x="974521" y="210423"/>
                  <a:pt x="1949042" y="420847"/>
                  <a:pt x="2592198" y="503339"/>
                </a:cubicBezTo>
                <a:cubicBezTo>
                  <a:pt x="3235354" y="585831"/>
                  <a:pt x="3547145" y="540390"/>
                  <a:pt x="3858936" y="494950"/>
                </a:cubicBezTo>
              </a:path>
            </a:pathLst>
          </a:custGeom>
          <a:noFill/>
          <a:ln>
            <a:solidFill>
              <a:schemeClr val="accent2">
                <a:lumMod val="50000"/>
              </a:schemeClr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Forma libre: forma 26">
            <a:extLst>
              <a:ext uri="{FF2B5EF4-FFF2-40B4-BE49-F238E27FC236}">
                <a16:creationId xmlns:a16="http://schemas.microsoft.com/office/drawing/2014/main" id="{D9B37E94-8952-4DF0-81AF-7E8C384A4235}"/>
              </a:ext>
            </a:extLst>
          </p:cNvPr>
          <p:cNvSpPr/>
          <p:nvPr/>
        </p:nvSpPr>
        <p:spPr>
          <a:xfrm>
            <a:off x="3741490" y="5472097"/>
            <a:ext cx="3825380" cy="467309"/>
          </a:xfrm>
          <a:custGeom>
            <a:avLst/>
            <a:gdLst>
              <a:gd name="connsiteX0" fmla="*/ 0 w 3825380"/>
              <a:gd name="connsiteY0" fmla="*/ 467309 h 467309"/>
              <a:gd name="connsiteX1" fmla="*/ 2617365 w 3825380"/>
              <a:gd name="connsiteY1" fmla="*/ 39470 h 467309"/>
              <a:gd name="connsiteX2" fmla="*/ 3825380 w 3825380"/>
              <a:gd name="connsiteY2" fmla="*/ 14303 h 467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825380" h="467309">
                <a:moveTo>
                  <a:pt x="0" y="467309"/>
                </a:moveTo>
                <a:cubicBezTo>
                  <a:pt x="989901" y="291140"/>
                  <a:pt x="1979802" y="114971"/>
                  <a:pt x="2617365" y="39470"/>
                </a:cubicBezTo>
                <a:cubicBezTo>
                  <a:pt x="3254928" y="-36031"/>
                  <a:pt x="3635230" y="21294"/>
                  <a:pt x="3825380" y="14303"/>
                </a:cubicBezTo>
              </a:path>
            </a:pathLst>
          </a:custGeom>
          <a:noFill/>
          <a:ln>
            <a:solidFill>
              <a:schemeClr val="accent2">
                <a:lumMod val="50000"/>
              </a:schemeClr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9" name="Conector recto de flecha 28">
            <a:extLst>
              <a:ext uri="{FF2B5EF4-FFF2-40B4-BE49-F238E27FC236}">
                <a16:creationId xmlns:a16="http://schemas.microsoft.com/office/drawing/2014/main" id="{857EB381-D034-494E-88A4-BF359D183620}"/>
              </a:ext>
            </a:extLst>
          </p:cNvPr>
          <p:cNvCxnSpPr>
            <a:stCxn id="3" idx="6"/>
            <a:endCxn id="21" idx="2"/>
          </p:cNvCxnSpPr>
          <p:nvPr/>
        </p:nvCxnSpPr>
        <p:spPr>
          <a:xfrm>
            <a:off x="3783435" y="4618912"/>
            <a:ext cx="1946246" cy="0"/>
          </a:xfrm>
          <a:prstGeom prst="straightConnector1">
            <a:avLst/>
          </a:prstGeom>
          <a:ln>
            <a:solidFill>
              <a:schemeClr val="accent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ector recto de flecha 34">
            <a:extLst>
              <a:ext uri="{FF2B5EF4-FFF2-40B4-BE49-F238E27FC236}">
                <a16:creationId xmlns:a16="http://schemas.microsoft.com/office/drawing/2014/main" id="{0EB7E2A7-C54B-4054-8E34-BC76C2FAC034}"/>
              </a:ext>
            </a:extLst>
          </p:cNvPr>
          <p:cNvCxnSpPr/>
          <p:nvPr/>
        </p:nvCxnSpPr>
        <p:spPr>
          <a:xfrm>
            <a:off x="3783435" y="6162486"/>
            <a:ext cx="1946246" cy="0"/>
          </a:xfrm>
          <a:prstGeom prst="straightConnector1">
            <a:avLst/>
          </a:prstGeom>
          <a:ln>
            <a:solidFill>
              <a:schemeClr val="accent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CuadroTexto 29">
            <a:extLst>
              <a:ext uri="{FF2B5EF4-FFF2-40B4-BE49-F238E27FC236}">
                <a16:creationId xmlns:a16="http://schemas.microsoft.com/office/drawing/2014/main" id="{B9018C33-ACAE-4B9C-887A-9C90BB4D4BA9}"/>
              </a:ext>
            </a:extLst>
          </p:cNvPr>
          <p:cNvSpPr txBox="1"/>
          <p:nvPr/>
        </p:nvSpPr>
        <p:spPr>
          <a:xfrm>
            <a:off x="1948899" y="3335181"/>
            <a:ext cx="58387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/>
              <a:t>Estructura de una Red Neuronal Recurrente</a:t>
            </a:r>
            <a:endParaRPr lang="en-US" dirty="0"/>
          </a:p>
        </p:txBody>
      </p:sp>
      <p:sp>
        <p:nvSpPr>
          <p:cNvPr id="31" name="Rectángulo: esquinas redondeadas 30">
            <a:extLst>
              <a:ext uri="{FF2B5EF4-FFF2-40B4-BE49-F238E27FC236}">
                <a16:creationId xmlns:a16="http://schemas.microsoft.com/office/drawing/2014/main" id="{7D51BDBE-AB9D-4642-AA2C-E8C72073D353}"/>
              </a:ext>
            </a:extLst>
          </p:cNvPr>
          <p:cNvSpPr/>
          <p:nvPr/>
        </p:nvSpPr>
        <p:spPr>
          <a:xfrm>
            <a:off x="7575259" y="3644503"/>
            <a:ext cx="4439459" cy="1212723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800">
                <a:effectLst/>
              </a:rPr>
              <a:t>Estas neuronas de contexto tienen sus propios pesos, con lo que la red neuronal es capaz de entrenar para darle un peso determinado. </a:t>
            </a:r>
            <a:endParaRPr lang="en-US"/>
          </a:p>
        </p:txBody>
      </p:sp>
      <p:sp>
        <p:nvSpPr>
          <p:cNvPr id="32" name="CuadroTexto 31">
            <a:extLst>
              <a:ext uri="{FF2B5EF4-FFF2-40B4-BE49-F238E27FC236}">
                <a16:creationId xmlns:a16="http://schemas.microsoft.com/office/drawing/2014/main" id="{52E04564-0042-498C-9330-CF1F9F028194}"/>
              </a:ext>
            </a:extLst>
          </p:cNvPr>
          <p:cNvSpPr txBox="1"/>
          <p:nvPr/>
        </p:nvSpPr>
        <p:spPr>
          <a:xfrm>
            <a:off x="5914239" y="3790217"/>
            <a:ext cx="200496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200" i="1" dirty="0" err="1">
                <a:solidFill>
                  <a:srgbClr val="C00000"/>
                </a:solidFill>
              </a:rPr>
              <a:t>Context</a:t>
            </a:r>
            <a:endParaRPr lang="en-US" sz="1200" i="1" dirty="0">
              <a:solidFill>
                <a:srgbClr val="C00000"/>
              </a:solidFill>
            </a:endParaRPr>
          </a:p>
        </p:txBody>
      </p:sp>
      <p:sp>
        <p:nvSpPr>
          <p:cNvPr id="39" name="CuadroTexto 38">
            <a:extLst>
              <a:ext uri="{FF2B5EF4-FFF2-40B4-BE49-F238E27FC236}">
                <a16:creationId xmlns:a16="http://schemas.microsoft.com/office/drawing/2014/main" id="{1A4E4F8C-0BC0-46C7-BB33-B1F643D48E5E}"/>
              </a:ext>
            </a:extLst>
          </p:cNvPr>
          <p:cNvSpPr txBox="1"/>
          <p:nvPr/>
        </p:nvSpPr>
        <p:spPr>
          <a:xfrm>
            <a:off x="2863298" y="3790217"/>
            <a:ext cx="73557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200" i="1" dirty="0" err="1"/>
              <a:t>Hidden</a:t>
            </a:r>
            <a:endParaRPr lang="en-US" sz="1200" i="1" dirty="0"/>
          </a:p>
        </p:txBody>
      </p:sp>
    </p:spTree>
    <p:extLst>
      <p:ext uri="{BB962C8B-B14F-4D97-AF65-F5344CB8AC3E}">
        <p14:creationId xmlns:p14="http://schemas.microsoft.com/office/powerpoint/2010/main" val="15469881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uadroTexto 3">
            <a:extLst>
              <a:ext uri="{FF2B5EF4-FFF2-40B4-BE49-F238E27FC236}">
                <a16:creationId xmlns:a16="http://schemas.microsoft.com/office/drawing/2014/main" id="{C7498002-AA23-4692-B5EE-BD8B84E8B5CC}"/>
              </a:ext>
            </a:extLst>
          </p:cNvPr>
          <p:cNvSpPr txBox="1"/>
          <p:nvPr/>
        </p:nvSpPr>
        <p:spPr>
          <a:xfrm>
            <a:off x="209723" y="1420094"/>
            <a:ext cx="884199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/>
            </a:lvl1pPr>
          </a:lstStyle>
          <a:p>
            <a:r>
              <a:rPr lang="es-ES" dirty="0"/>
              <a:t>¿Qué es un LSTM y por qué son necesarias para Series?</a:t>
            </a:r>
          </a:p>
        </p:txBody>
      </p:sp>
      <p:sp>
        <p:nvSpPr>
          <p:cNvPr id="5" name="CustomShape 10">
            <a:extLst>
              <a:ext uri="{FF2B5EF4-FFF2-40B4-BE49-F238E27FC236}">
                <a16:creationId xmlns:a16="http://schemas.microsoft.com/office/drawing/2014/main" id="{A7345109-44C0-4808-B7E3-BCFEB536BEA8}"/>
              </a:ext>
            </a:extLst>
          </p:cNvPr>
          <p:cNvSpPr/>
          <p:nvPr/>
        </p:nvSpPr>
        <p:spPr>
          <a:xfrm>
            <a:off x="209723" y="2067407"/>
            <a:ext cx="1543575" cy="1698472"/>
          </a:xfrm>
          <a:prstGeom prst="rect">
            <a:avLst/>
          </a:prstGeom>
          <a:solidFill>
            <a:srgbClr val="FFFFFF">
              <a:alpha val="56000"/>
            </a:srgb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/>
          <a:p>
            <a:pPr>
              <a:lnSpc>
                <a:spcPct val="100000"/>
              </a:lnSpc>
            </a:pPr>
            <a:r>
              <a:rPr lang="es-ES" sz="2800" b="1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</a:rPr>
              <a:t>L</a:t>
            </a:r>
            <a:r>
              <a:rPr lang="es-ES" sz="2000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</a:rPr>
              <a:t>ong</a:t>
            </a:r>
          </a:p>
          <a:p>
            <a:pPr>
              <a:lnSpc>
                <a:spcPct val="100000"/>
              </a:lnSpc>
            </a:pPr>
            <a:r>
              <a:rPr lang="es-ES" sz="2800" b="1" strike="noStrike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</a:rPr>
              <a:t>S</a:t>
            </a:r>
            <a:r>
              <a:rPr lang="es-ES" sz="2000" b="0" strike="noStrike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</a:rPr>
              <a:t>hort</a:t>
            </a:r>
          </a:p>
          <a:p>
            <a:pPr>
              <a:lnSpc>
                <a:spcPct val="100000"/>
              </a:lnSpc>
            </a:pPr>
            <a:r>
              <a:rPr lang="es-ES" sz="2800" b="1" spc="-1" dirty="0" err="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</a:rPr>
              <a:t>T</a:t>
            </a:r>
            <a:r>
              <a:rPr lang="es-ES" sz="2000" spc="-1" dirty="0" err="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</a:rPr>
              <a:t>erm</a:t>
            </a:r>
            <a:endParaRPr lang="es-ES" sz="2000" spc="-1" dirty="0">
              <a:solidFill>
                <a:srgbClr val="000000"/>
              </a:solidFill>
              <a:uFill>
                <a:solidFill>
                  <a:srgbClr val="FFFFFF"/>
                </a:solidFill>
              </a:uFill>
            </a:endParaRPr>
          </a:p>
          <a:p>
            <a:pPr>
              <a:lnSpc>
                <a:spcPct val="100000"/>
              </a:lnSpc>
            </a:pPr>
            <a:r>
              <a:rPr lang="es-ES" sz="2800" b="1" strike="noStrike" spc="-1" dirty="0" err="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</a:rPr>
              <a:t>M</a:t>
            </a:r>
            <a:r>
              <a:rPr lang="es-ES" sz="2000" b="0" strike="noStrike" spc="-1" dirty="0" err="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</a:rPr>
              <a:t>emory</a:t>
            </a:r>
            <a:endParaRPr lang="es-ES" sz="2000" b="0" strike="noStrike" spc="-1" dirty="0">
              <a:solidFill>
                <a:srgbClr val="000000"/>
              </a:solidFill>
              <a:uFill>
                <a:solidFill>
                  <a:srgbClr val="FFFFFF"/>
                </a:solidFill>
              </a:uFill>
            </a:endParaRP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533448D0-3358-400D-B4AD-2EB2D6A5F5C9}"/>
              </a:ext>
            </a:extLst>
          </p:cNvPr>
          <p:cNvSpPr txBox="1"/>
          <p:nvPr/>
        </p:nvSpPr>
        <p:spPr>
          <a:xfrm>
            <a:off x="2281806" y="2263512"/>
            <a:ext cx="9336946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800" dirty="0">
                <a:effectLst/>
                <a:latin typeface="Calibri" panose="020F0502020204030204" pitchFamily="34" charset="0"/>
              </a:rPr>
              <a:t>Lo distinto de estas neuronas es que existen internamente unas puertas lógicas (</a:t>
            </a:r>
            <a:r>
              <a:rPr lang="es-ES" sz="1800" dirty="0" err="1">
                <a:solidFill>
                  <a:srgbClr val="C00000"/>
                </a:solidFill>
                <a:effectLst/>
                <a:latin typeface="Calibri" panose="020F0502020204030204" pitchFamily="34" charset="0"/>
              </a:rPr>
              <a:t>Forget</a:t>
            </a:r>
            <a:r>
              <a:rPr lang="es-ES" sz="1800" dirty="0">
                <a:solidFill>
                  <a:srgbClr val="C00000"/>
                </a:solidFill>
                <a:effectLst/>
                <a:latin typeface="Calibri" panose="020F0502020204030204" pitchFamily="34" charset="0"/>
              </a:rPr>
              <a:t> Gate</a:t>
            </a:r>
            <a:r>
              <a:rPr lang="es-ES" sz="1800" dirty="0">
                <a:effectLst/>
                <a:latin typeface="Calibri" panose="020F0502020204030204" pitchFamily="34" charset="0"/>
              </a:rPr>
              <a:t>, </a:t>
            </a:r>
            <a:r>
              <a:rPr lang="es-ES" sz="1800" dirty="0">
                <a:solidFill>
                  <a:schemeClr val="accent6">
                    <a:lumMod val="50000"/>
                  </a:schemeClr>
                </a:solidFill>
                <a:effectLst/>
                <a:latin typeface="Calibri" panose="020F0502020204030204" pitchFamily="34" charset="0"/>
              </a:rPr>
              <a:t>Input </a:t>
            </a:r>
            <a:r>
              <a:rPr lang="es-ES" sz="1800" dirty="0" err="1">
                <a:solidFill>
                  <a:schemeClr val="accent6">
                    <a:lumMod val="50000"/>
                  </a:schemeClr>
                </a:solidFill>
                <a:effectLst/>
                <a:latin typeface="Calibri" panose="020F0502020204030204" pitchFamily="34" charset="0"/>
              </a:rPr>
              <a:t>gate</a:t>
            </a:r>
            <a:r>
              <a:rPr lang="es-ES" sz="1800" dirty="0">
                <a:effectLst/>
                <a:latin typeface="Calibri" panose="020F0502020204030204" pitchFamily="34" charset="0"/>
              </a:rPr>
              <a:t> y Output Gate) que determina qué se debe estar "recordando" dentro de la red neuronal y por cuánto tiempo.</a:t>
            </a:r>
            <a:endParaRPr lang="en-US" dirty="0"/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E849682A-8FEA-44B5-99E7-44E4FB2C4BBF}"/>
              </a:ext>
            </a:extLst>
          </p:cNvPr>
          <p:cNvSpPr txBox="1"/>
          <p:nvPr/>
        </p:nvSpPr>
        <p:spPr>
          <a:xfrm>
            <a:off x="2281806" y="3671159"/>
            <a:ext cx="972703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800" dirty="0">
                <a:effectLst/>
                <a:latin typeface="Calibri" panose="020F0502020204030204" pitchFamily="34" charset="0"/>
              </a:rPr>
              <a:t>Dentro del proces</a:t>
            </a:r>
            <a:r>
              <a:rPr lang="es-ES" dirty="0">
                <a:latin typeface="Calibri" panose="020F0502020204030204" pitchFamily="34" charset="0"/>
              </a:rPr>
              <a:t>o de </a:t>
            </a:r>
            <a:r>
              <a:rPr lang="es-ES" sz="1800" dirty="0">
                <a:effectLst/>
                <a:latin typeface="Calibri" panose="020F0502020204030204" pitchFamily="34" charset="0"/>
              </a:rPr>
              <a:t>aprendizaje de la red neuronal se optimizará el número de períodos en los que ciertas neuronas estarán entrando al “contexto” de la predicción</a:t>
            </a:r>
            <a:endParaRPr lang="en-US" dirty="0"/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48147695-4B83-4728-8814-9B6A9013FF0D}"/>
              </a:ext>
            </a:extLst>
          </p:cNvPr>
          <p:cNvSpPr txBox="1"/>
          <p:nvPr/>
        </p:nvSpPr>
        <p:spPr>
          <a:xfrm>
            <a:off x="5729681" y="304358"/>
            <a:ext cx="6579765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3200" dirty="0"/>
              <a:t>Modelado de Series Temporales con Redes Neuronales</a:t>
            </a: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11537B73-0834-4C49-A827-7A2B21F8F7C2}"/>
              </a:ext>
            </a:extLst>
          </p:cNvPr>
          <p:cNvSpPr txBox="1"/>
          <p:nvPr/>
        </p:nvSpPr>
        <p:spPr>
          <a:xfrm>
            <a:off x="327171" y="5109480"/>
            <a:ext cx="11681673" cy="3693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es-ES" sz="1800" dirty="0">
                <a:effectLst/>
                <a:latin typeface="Calibri" panose="020F0502020204030204" pitchFamily="34" charset="0"/>
              </a:rPr>
              <a:t>La capacidad de recordar a un período variable de tiempo (Long </a:t>
            </a:r>
            <a:r>
              <a:rPr lang="es-ES" sz="1800" dirty="0" err="1">
                <a:effectLst/>
                <a:latin typeface="Calibri" panose="020F0502020204030204" pitchFamily="34" charset="0"/>
              </a:rPr>
              <a:t>Term</a:t>
            </a:r>
            <a:r>
              <a:rPr lang="es-ES" sz="1800" dirty="0">
                <a:effectLst/>
                <a:latin typeface="Calibri" panose="020F0502020204030204" pitchFamily="34" charset="0"/>
              </a:rPr>
              <a:t>) es lo que las diferencia particularmente de las RNN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217657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uadroTexto 3">
            <a:extLst>
              <a:ext uri="{FF2B5EF4-FFF2-40B4-BE49-F238E27FC236}">
                <a16:creationId xmlns:a16="http://schemas.microsoft.com/office/drawing/2014/main" id="{C7498002-AA23-4692-B5EE-BD8B84E8B5CC}"/>
              </a:ext>
            </a:extLst>
          </p:cNvPr>
          <p:cNvSpPr txBox="1"/>
          <p:nvPr/>
        </p:nvSpPr>
        <p:spPr>
          <a:xfrm>
            <a:off x="209724" y="1420094"/>
            <a:ext cx="440422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/>
            </a:lvl1pPr>
          </a:lstStyle>
          <a:p>
            <a:r>
              <a:rPr lang="es-ES" dirty="0"/>
              <a:t>Componentes de una LSTM</a:t>
            </a:r>
          </a:p>
        </p:txBody>
      </p:sp>
      <p:pic>
        <p:nvPicPr>
          <p:cNvPr id="9" name="Picture 2" descr="Texto alternativo generado por el equipo:&#10;ct-l &#10;sigmoid() &#10;9t-1 &#10;ct+l &#10;sigmoid() &#10;tanh() &#10;tanh() &#10;ot &#10;sigmoid() ">
            <a:extLst>
              <a:ext uri="{FF2B5EF4-FFF2-40B4-BE49-F238E27FC236}">
                <a16:creationId xmlns:a16="http://schemas.microsoft.com/office/drawing/2014/main" id="{12C81616-4958-4A19-A603-CF8077600F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5615" y="3361827"/>
            <a:ext cx="5718509" cy="34961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CuadroTexto 9">
            <a:extLst>
              <a:ext uri="{FF2B5EF4-FFF2-40B4-BE49-F238E27FC236}">
                <a16:creationId xmlns:a16="http://schemas.microsoft.com/office/drawing/2014/main" id="{4E409560-2847-47F7-AF6F-3B226834EBA5}"/>
              </a:ext>
            </a:extLst>
          </p:cNvPr>
          <p:cNvSpPr txBox="1"/>
          <p:nvPr/>
        </p:nvSpPr>
        <p:spPr>
          <a:xfrm>
            <a:off x="5385732" y="4971413"/>
            <a:ext cx="1199626" cy="276999"/>
          </a:xfrm>
          <a:prstGeom prst="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r>
              <a:rPr lang="es-ES" sz="1200" dirty="0" err="1">
                <a:solidFill>
                  <a:srgbClr val="C00000"/>
                </a:solidFill>
              </a:rPr>
              <a:t>Forget</a:t>
            </a:r>
            <a:r>
              <a:rPr lang="es-ES" sz="1200" dirty="0">
                <a:solidFill>
                  <a:srgbClr val="C00000"/>
                </a:solidFill>
              </a:rPr>
              <a:t> Gate</a:t>
            </a:r>
            <a:endParaRPr lang="en-US" sz="1200" dirty="0">
              <a:solidFill>
                <a:srgbClr val="C00000"/>
              </a:solidFill>
            </a:endParaRP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43032BFF-3ADE-4F98-894C-31E1239DF206}"/>
              </a:ext>
            </a:extLst>
          </p:cNvPr>
          <p:cNvSpPr txBox="1"/>
          <p:nvPr/>
        </p:nvSpPr>
        <p:spPr>
          <a:xfrm>
            <a:off x="6047420" y="5317250"/>
            <a:ext cx="1082180" cy="276999"/>
          </a:xfrm>
          <a:prstGeom prst="rect">
            <a:avLst/>
          </a:prstGeom>
          <a:solidFill>
            <a:schemeClr val="bg1"/>
          </a:solidFill>
          <a:ln>
            <a:solidFill>
              <a:schemeClr val="accent6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s-ES" sz="1200" dirty="0">
                <a:solidFill>
                  <a:schemeClr val="accent6">
                    <a:lumMod val="50000"/>
                  </a:schemeClr>
                </a:solidFill>
              </a:rPr>
              <a:t>Input Gate</a:t>
            </a:r>
            <a:endParaRPr lang="en-US" sz="12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1BB5D514-0661-4699-9714-A6CD9CFE0EE2}"/>
              </a:ext>
            </a:extLst>
          </p:cNvPr>
          <p:cNvSpPr txBox="1"/>
          <p:nvPr/>
        </p:nvSpPr>
        <p:spPr>
          <a:xfrm>
            <a:off x="8975521" y="5317854"/>
            <a:ext cx="1216405" cy="276999"/>
          </a:xfrm>
          <a:prstGeom prst="rect">
            <a:avLst/>
          </a:prstGeom>
          <a:solidFill>
            <a:schemeClr val="bg1"/>
          </a:solidFill>
          <a:ln>
            <a:solidFill>
              <a:srgbClr val="001C54"/>
            </a:solidFill>
          </a:ln>
        </p:spPr>
        <p:txBody>
          <a:bodyPr wrap="square" rtlCol="0">
            <a:spAutoFit/>
          </a:bodyPr>
          <a:lstStyle/>
          <a:p>
            <a:r>
              <a:rPr lang="es-ES" sz="1200" dirty="0">
                <a:solidFill>
                  <a:srgbClr val="001C54"/>
                </a:solidFill>
              </a:rPr>
              <a:t>Output Gate</a:t>
            </a:r>
            <a:endParaRPr lang="en-US" sz="1200" dirty="0">
              <a:solidFill>
                <a:srgbClr val="001C54"/>
              </a:solidFill>
            </a:endParaRPr>
          </a:p>
        </p:txBody>
      </p:sp>
      <p:sp>
        <p:nvSpPr>
          <p:cNvPr id="13" name="Elipse 12">
            <a:extLst>
              <a:ext uri="{FF2B5EF4-FFF2-40B4-BE49-F238E27FC236}">
                <a16:creationId xmlns:a16="http://schemas.microsoft.com/office/drawing/2014/main" id="{697708F5-4A36-492A-A34F-277083F511C0}"/>
              </a:ext>
            </a:extLst>
          </p:cNvPr>
          <p:cNvSpPr/>
          <p:nvPr/>
        </p:nvSpPr>
        <p:spPr>
          <a:xfrm>
            <a:off x="6585358" y="4971413"/>
            <a:ext cx="343948" cy="327993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Elipse 13">
            <a:extLst>
              <a:ext uri="{FF2B5EF4-FFF2-40B4-BE49-F238E27FC236}">
                <a16:creationId xmlns:a16="http://schemas.microsoft.com/office/drawing/2014/main" id="{F9B9B307-77FE-4014-B76F-0BAEDCC1C734}"/>
              </a:ext>
            </a:extLst>
          </p:cNvPr>
          <p:cNvSpPr/>
          <p:nvPr/>
        </p:nvSpPr>
        <p:spPr>
          <a:xfrm>
            <a:off x="7130643" y="5292358"/>
            <a:ext cx="343948" cy="327993"/>
          </a:xfrm>
          <a:prstGeom prst="ellipse">
            <a:avLst/>
          </a:prstGeom>
          <a:noFill/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Elipse 14">
            <a:extLst>
              <a:ext uri="{FF2B5EF4-FFF2-40B4-BE49-F238E27FC236}">
                <a16:creationId xmlns:a16="http://schemas.microsoft.com/office/drawing/2014/main" id="{B253F430-0C20-4C0A-B4E7-A8880C5E9AE3}"/>
              </a:ext>
            </a:extLst>
          </p:cNvPr>
          <p:cNvSpPr/>
          <p:nvPr/>
        </p:nvSpPr>
        <p:spPr>
          <a:xfrm>
            <a:off x="8631573" y="5292358"/>
            <a:ext cx="343948" cy="327993"/>
          </a:xfrm>
          <a:prstGeom prst="ellipse">
            <a:avLst/>
          </a:prstGeom>
          <a:noFill/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6EE3FE12-E21B-4031-AE44-411A39F6357A}"/>
              </a:ext>
            </a:extLst>
          </p:cNvPr>
          <p:cNvSpPr txBox="1"/>
          <p:nvPr/>
        </p:nvSpPr>
        <p:spPr>
          <a:xfrm>
            <a:off x="363509" y="2483293"/>
            <a:ext cx="1199626" cy="276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s-ES" sz="1200" dirty="0" err="1">
                <a:solidFill>
                  <a:srgbClr val="C00000"/>
                </a:solidFill>
              </a:rPr>
              <a:t>Forget</a:t>
            </a:r>
            <a:r>
              <a:rPr lang="es-ES" sz="1200" dirty="0">
                <a:solidFill>
                  <a:srgbClr val="C00000"/>
                </a:solidFill>
              </a:rPr>
              <a:t> Gate</a:t>
            </a:r>
            <a:endParaRPr lang="en-US" sz="1200" dirty="0">
              <a:solidFill>
                <a:srgbClr val="C00000"/>
              </a:solidFill>
            </a:endParaRPr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829110CD-210F-47D0-BECD-87306F613D99}"/>
              </a:ext>
            </a:extLst>
          </p:cNvPr>
          <p:cNvSpPr txBox="1"/>
          <p:nvPr/>
        </p:nvSpPr>
        <p:spPr>
          <a:xfrm>
            <a:off x="363509" y="2872132"/>
            <a:ext cx="1082180" cy="276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s-ES" sz="1200" dirty="0">
                <a:solidFill>
                  <a:schemeClr val="accent6">
                    <a:lumMod val="50000"/>
                  </a:schemeClr>
                </a:solidFill>
              </a:rPr>
              <a:t>Input Gate</a:t>
            </a:r>
            <a:endParaRPr lang="en-US" sz="12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id="{003947BB-62FE-44B9-BB9E-869B76815322}"/>
              </a:ext>
            </a:extLst>
          </p:cNvPr>
          <p:cNvSpPr txBox="1"/>
          <p:nvPr/>
        </p:nvSpPr>
        <p:spPr>
          <a:xfrm>
            <a:off x="363509" y="3429000"/>
            <a:ext cx="1190195" cy="276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s-ES" sz="1200" dirty="0">
                <a:solidFill>
                  <a:srgbClr val="001C54"/>
                </a:solidFill>
              </a:rPr>
              <a:t>Output Gate</a:t>
            </a:r>
            <a:endParaRPr lang="en-US" sz="1200" dirty="0">
              <a:solidFill>
                <a:srgbClr val="001C54"/>
              </a:solidFill>
            </a:endParaRPr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0CC6CC06-2955-4569-8225-4C9A0CD3F050}"/>
              </a:ext>
            </a:extLst>
          </p:cNvPr>
          <p:cNvSpPr txBox="1"/>
          <p:nvPr/>
        </p:nvSpPr>
        <p:spPr>
          <a:xfrm>
            <a:off x="1906732" y="2483293"/>
            <a:ext cx="8841997" cy="276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s-ES" sz="1200" dirty="0">
                <a:solidFill>
                  <a:srgbClr val="C00000"/>
                </a:solidFill>
              </a:rPr>
              <a:t>Define cuándo (o si en absoluto) el contexto se olvida - ¿Deberíamos acordarnos de lo que ocurrió en el pasado?</a:t>
            </a:r>
            <a:endParaRPr lang="en-US" sz="1200" dirty="0">
              <a:solidFill>
                <a:srgbClr val="C00000"/>
              </a:solidFill>
            </a:endParaRPr>
          </a:p>
        </p:txBody>
      </p:sp>
      <p:sp>
        <p:nvSpPr>
          <p:cNvPr id="20" name="CuadroTexto 19">
            <a:extLst>
              <a:ext uri="{FF2B5EF4-FFF2-40B4-BE49-F238E27FC236}">
                <a16:creationId xmlns:a16="http://schemas.microsoft.com/office/drawing/2014/main" id="{FBEA21E2-4A15-4359-B5DC-E8D9EEDAD216}"/>
              </a:ext>
            </a:extLst>
          </p:cNvPr>
          <p:cNvSpPr txBox="1"/>
          <p:nvPr/>
        </p:nvSpPr>
        <p:spPr>
          <a:xfrm>
            <a:off x="1906733" y="2872132"/>
            <a:ext cx="6918486" cy="4616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s-ES" sz="1200" dirty="0">
                <a:solidFill>
                  <a:schemeClr val="accent6">
                    <a:lumMod val="50000"/>
                  </a:schemeClr>
                </a:solidFill>
              </a:rPr>
              <a:t>Define dentro de la neurona cuándo (o si en absoluto)  se debería recordar un valor (agregarlo al contexto)</a:t>
            </a:r>
            <a:endParaRPr lang="en-US" sz="12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21" name="CuadroTexto 20">
            <a:extLst>
              <a:ext uri="{FF2B5EF4-FFF2-40B4-BE49-F238E27FC236}">
                <a16:creationId xmlns:a16="http://schemas.microsoft.com/office/drawing/2014/main" id="{920BD6F7-A1D2-4D8D-9FF6-838983BFA741}"/>
              </a:ext>
            </a:extLst>
          </p:cNvPr>
          <p:cNvSpPr txBox="1"/>
          <p:nvPr/>
        </p:nvSpPr>
        <p:spPr>
          <a:xfrm>
            <a:off x="1906733" y="3392063"/>
            <a:ext cx="4983087" cy="276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s-ES" sz="1200" dirty="0">
                <a:solidFill>
                  <a:srgbClr val="001C54"/>
                </a:solidFill>
              </a:rPr>
              <a:t>Controla si se permite pasar un valor recordado</a:t>
            </a:r>
            <a:endParaRPr lang="en-US" sz="1200" dirty="0">
              <a:solidFill>
                <a:srgbClr val="001C54"/>
              </a:solidFill>
            </a:endParaRPr>
          </a:p>
        </p:txBody>
      </p:sp>
      <p:sp>
        <p:nvSpPr>
          <p:cNvPr id="22" name="CuadroTexto 21">
            <a:extLst>
              <a:ext uri="{FF2B5EF4-FFF2-40B4-BE49-F238E27FC236}">
                <a16:creationId xmlns:a16="http://schemas.microsoft.com/office/drawing/2014/main" id="{DE702DA8-3439-4F02-84EF-1F862587177C}"/>
              </a:ext>
            </a:extLst>
          </p:cNvPr>
          <p:cNvSpPr txBox="1"/>
          <p:nvPr/>
        </p:nvSpPr>
        <p:spPr>
          <a:xfrm>
            <a:off x="2910980" y="5619141"/>
            <a:ext cx="3422707" cy="4616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s-ES" sz="1200" dirty="0">
                <a:solidFill>
                  <a:schemeClr val="accent2"/>
                </a:solidFill>
              </a:rPr>
              <a:t>Con las sigmoides el valor se asegura ser o 0 o 1, comportándose como prueba lógica</a:t>
            </a:r>
            <a:endParaRPr lang="en-US" sz="1200" dirty="0">
              <a:solidFill>
                <a:schemeClr val="accent2"/>
              </a:solidFill>
            </a:endParaRPr>
          </a:p>
        </p:txBody>
      </p:sp>
      <p:sp>
        <p:nvSpPr>
          <p:cNvPr id="23" name="CuadroTexto 22">
            <a:extLst>
              <a:ext uri="{FF2B5EF4-FFF2-40B4-BE49-F238E27FC236}">
                <a16:creationId xmlns:a16="http://schemas.microsoft.com/office/drawing/2014/main" id="{4A8A2FB3-F49D-4DA2-86D5-71BE618625EB}"/>
              </a:ext>
            </a:extLst>
          </p:cNvPr>
          <p:cNvSpPr txBox="1"/>
          <p:nvPr/>
        </p:nvSpPr>
        <p:spPr>
          <a:xfrm>
            <a:off x="5729681" y="304358"/>
            <a:ext cx="6579765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3200" dirty="0"/>
              <a:t>Modelado de Series Temporales con Redes Neuronales</a:t>
            </a:r>
          </a:p>
        </p:txBody>
      </p:sp>
    </p:spTree>
    <p:extLst>
      <p:ext uri="{BB962C8B-B14F-4D97-AF65-F5344CB8AC3E}">
        <p14:creationId xmlns:p14="http://schemas.microsoft.com/office/powerpoint/2010/main" val="242225492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uadroTexto 3">
            <a:extLst>
              <a:ext uri="{FF2B5EF4-FFF2-40B4-BE49-F238E27FC236}">
                <a16:creationId xmlns:a16="http://schemas.microsoft.com/office/drawing/2014/main" id="{2BF6F698-7A8C-4BB4-9A81-36A38F7CD0A3}"/>
              </a:ext>
            </a:extLst>
          </p:cNvPr>
          <p:cNvSpPr txBox="1"/>
          <p:nvPr/>
        </p:nvSpPr>
        <p:spPr>
          <a:xfrm>
            <a:off x="209724" y="1420094"/>
            <a:ext cx="473978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/>
            </a:lvl1pPr>
          </a:lstStyle>
          <a:p>
            <a:r>
              <a:rPr lang="es-ES" dirty="0"/>
              <a:t>Implementación de una LSTM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A54E01D5-BF28-4296-8F08-5C965E3C22EB}"/>
              </a:ext>
            </a:extLst>
          </p:cNvPr>
          <p:cNvSpPr txBox="1"/>
          <p:nvPr/>
        </p:nvSpPr>
        <p:spPr>
          <a:xfrm>
            <a:off x="5729681" y="304358"/>
            <a:ext cx="6579765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3200" dirty="0"/>
              <a:t>Modelado de Series Temporales con Redes Neuronales</a:t>
            </a:r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68B1A4C0-BCDE-4893-9657-DD4D34E5B850}"/>
              </a:ext>
            </a:extLst>
          </p:cNvPr>
          <p:cNvSpPr txBox="1"/>
          <p:nvPr/>
        </p:nvSpPr>
        <p:spPr>
          <a:xfrm>
            <a:off x="327168" y="2378448"/>
            <a:ext cx="10620463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/>
            </a:lvl1pPr>
          </a:lstStyle>
          <a:p>
            <a:pPr algn="l"/>
            <a:r>
              <a:rPr lang="es-ES" sz="1600" dirty="0"/>
              <a:t>Creación de los vectores</a:t>
            </a:r>
          </a:p>
          <a:p>
            <a:pPr marL="171450" indent="-171450" algn="l">
              <a:buFont typeface="Wingdings" panose="05000000000000000000" pitchFamily="2" charset="2"/>
              <a:buChar char="Ø"/>
            </a:pPr>
            <a:r>
              <a:rPr lang="es-ES" sz="1600" b="1" dirty="0"/>
              <a:t>n</a:t>
            </a:r>
            <a:r>
              <a:rPr lang="es-ES" sz="1600" dirty="0"/>
              <a:t> vectores de tamaño </a:t>
            </a:r>
            <a:r>
              <a:rPr lang="es-ES" sz="1600" b="1" dirty="0"/>
              <a:t>(1,x)</a:t>
            </a:r>
            <a:r>
              <a:rPr lang="es-ES" sz="1600" dirty="0"/>
              <a:t>, donde x es el número de atributos, en el caso de un LSTM son los datos a pasado, </a:t>
            </a:r>
          </a:p>
          <a:p>
            <a:pPr marL="171450" indent="-171450" algn="l">
              <a:buFont typeface="Wingdings" panose="05000000000000000000" pitchFamily="2" charset="2"/>
              <a:buChar char="Ø"/>
            </a:pPr>
            <a:r>
              <a:rPr lang="es-ES" sz="1600" dirty="0"/>
              <a:t>Se puede agregar las variables </a:t>
            </a:r>
            <a:r>
              <a:rPr lang="es-ES" sz="1600" dirty="0" err="1"/>
              <a:t>regresoras</a:t>
            </a:r>
            <a:r>
              <a:rPr lang="es-ES" sz="1600" dirty="0"/>
              <a:t>) </a:t>
            </a:r>
          </a:p>
          <a:p>
            <a:pPr marL="171450" indent="-171450" algn="l">
              <a:buFont typeface="Wingdings" panose="05000000000000000000" pitchFamily="2" charset="2"/>
              <a:buChar char="Ø"/>
            </a:pPr>
            <a:r>
              <a:rPr lang="es-ES" sz="1600" dirty="0"/>
              <a:t>Crear el target (vector con los resultados, 1 por cada </a:t>
            </a:r>
            <a:r>
              <a:rPr lang="es-ES" sz="1600" b="1" dirty="0"/>
              <a:t>n</a:t>
            </a:r>
            <a:r>
              <a:rPr lang="es-ES" sz="1600" dirty="0"/>
              <a:t> de </a:t>
            </a:r>
            <a:r>
              <a:rPr lang="es-ES" sz="1600" dirty="0" err="1"/>
              <a:t>train+test</a:t>
            </a:r>
            <a:r>
              <a:rPr lang="es-ES" sz="1600" dirty="0"/>
              <a:t>)</a:t>
            </a:r>
          </a:p>
          <a:p>
            <a:pPr algn="l"/>
            <a:endParaRPr lang="es-ES" sz="1600" dirty="0"/>
          </a:p>
          <a:p>
            <a:pPr algn="l"/>
            <a:r>
              <a:rPr lang="es-ES" sz="1600" dirty="0"/>
              <a:t>Los objetos data y target tienen que quedar como </a:t>
            </a:r>
            <a:r>
              <a:rPr lang="es-ES" sz="1600" dirty="0" err="1"/>
              <a:t>np.array</a:t>
            </a:r>
            <a:r>
              <a:rPr lang="es-ES" sz="1600" dirty="0"/>
              <a:t>() </a:t>
            </a:r>
          </a:p>
          <a:p>
            <a:pPr algn="l"/>
            <a:r>
              <a:rPr lang="es-ES" sz="1600" dirty="0"/>
              <a:t>Después de esto se realiza la separación entre </a:t>
            </a:r>
            <a:r>
              <a:rPr lang="es-ES" sz="1600" dirty="0" err="1"/>
              <a:t>train_test_split</a:t>
            </a:r>
            <a:r>
              <a:rPr lang="es-ES" sz="1600" dirty="0"/>
              <a:t>.</a:t>
            </a:r>
          </a:p>
        </p:txBody>
      </p:sp>
      <p:sp>
        <p:nvSpPr>
          <p:cNvPr id="20" name="CuadroTexto 19">
            <a:extLst>
              <a:ext uri="{FF2B5EF4-FFF2-40B4-BE49-F238E27FC236}">
                <a16:creationId xmlns:a16="http://schemas.microsoft.com/office/drawing/2014/main" id="{27B7AAE4-255D-4578-8229-93774919BF4A}"/>
              </a:ext>
            </a:extLst>
          </p:cNvPr>
          <p:cNvSpPr txBox="1"/>
          <p:nvPr/>
        </p:nvSpPr>
        <p:spPr>
          <a:xfrm>
            <a:off x="327169" y="2048365"/>
            <a:ext cx="106204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/>
            </a:lvl1pPr>
          </a:lstStyle>
          <a:p>
            <a:pPr algn="l"/>
            <a:r>
              <a:rPr lang="es-ES" sz="1600" dirty="0"/>
              <a:t>Preparación del Dato</a:t>
            </a:r>
          </a:p>
        </p:txBody>
      </p:sp>
    </p:spTree>
    <p:extLst>
      <p:ext uri="{BB962C8B-B14F-4D97-AF65-F5344CB8AC3E}">
        <p14:creationId xmlns:p14="http://schemas.microsoft.com/office/powerpoint/2010/main" val="90488918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uadroTexto 3">
            <a:extLst>
              <a:ext uri="{FF2B5EF4-FFF2-40B4-BE49-F238E27FC236}">
                <a16:creationId xmlns:a16="http://schemas.microsoft.com/office/drawing/2014/main" id="{2BF6F698-7A8C-4BB4-9A81-36A38F7CD0A3}"/>
              </a:ext>
            </a:extLst>
          </p:cNvPr>
          <p:cNvSpPr txBox="1"/>
          <p:nvPr/>
        </p:nvSpPr>
        <p:spPr>
          <a:xfrm>
            <a:off x="209724" y="1420094"/>
            <a:ext cx="473978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/>
            </a:lvl1pPr>
          </a:lstStyle>
          <a:p>
            <a:r>
              <a:rPr lang="es-ES" dirty="0"/>
              <a:t>Implementación de una LSTM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A54E01D5-BF28-4296-8F08-5C965E3C22EB}"/>
              </a:ext>
            </a:extLst>
          </p:cNvPr>
          <p:cNvSpPr txBox="1"/>
          <p:nvPr/>
        </p:nvSpPr>
        <p:spPr>
          <a:xfrm>
            <a:off x="5729681" y="304358"/>
            <a:ext cx="6579765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3200" dirty="0"/>
              <a:t>Modelado de Series Temporales con Redes Neuronales</a:t>
            </a:r>
          </a:p>
        </p:txBody>
      </p:sp>
      <p:pic>
        <p:nvPicPr>
          <p:cNvPr id="5121" name="Picture 1" descr="Texto alternativo generado por el equipo:&#10;model ' mean absolute error' ,optimizer= ' adam' ,metrics=[ ' accuracy ' ]) ">
            <a:extLst>
              <a:ext uri="{FF2B5EF4-FFF2-40B4-BE49-F238E27FC236}">
                <a16:creationId xmlns:a16="http://schemas.microsoft.com/office/drawing/2014/main" id="{4DAFC686-5D1E-45C3-BC96-D1FE44066B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168" y="5460426"/>
            <a:ext cx="6115050" cy="314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5" name="Picture 1" descr="Texto alternativo generado por el equipo:&#10;history &#10;model.fit(x train,y validation data=(x test,y test)) ">
            <a:extLst>
              <a:ext uri="{FF2B5EF4-FFF2-40B4-BE49-F238E27FC236}">
                <a16:creationId xmlns:a16="http://schemas.microsoft.com/office/drawing/2014/main" id="{996F9DB4-218E-459D-8E78-E057035495F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605" t="12046"/>
          <a:stretch/>
        </p:blipFill>
        <p:spPr bwMode="auto">
          <a:xfrm>
            <a:off x="327168" y="6032350"/>
            <a:ext cx="5060918" cy="2680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" name="Grupo 2">
            <a:extLst>
              <a:ext uri="{FF2B5EF4-FFF2-40B4-BE49-F238E27FC236}">
                <a16:creationId xmlns:a16="http://schemas.microsoft.com/office/drawing/2014/main" id="{FC3E9363-282A-4E2C-B644-840782ABB63D}"/>
              </a:ext>
            </a:extLst>
          </p:cNvPr>
          <p:cNvGrpSpPr/>
          <p:nvPr/>
        </p:nvGrpSpPr>
        <p:grpSpPr>
          <a:xfrm>
            <a:off x="209724" y="2701850"/>
            <a:ext cx="8677768" cy="2624116"/>
            <a:chOff x="209723" y="2711282"/>
            <a:chExt cx="8677768" cy="2624116"/>
          </a:xfrm>
        </p:grpSpPr>
        <p:pic>
          <p:nvPicPr>
            <p:cNvPr id="17" name="Imagen 16">
              <a:extLst>
                <a:ext uri="{FF2B5EF4-FFF2-40B4-BE49-F238E27FC236}">
                  <a16:creationId xmlns:a16="http://schemas.microsoft.com/office/drawing/2014/main" id="{9892731E-1636-45D9-9985-4FC9B2660F3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09723" y="2711282"/>
              <a:ext cx="8677768" cy="2624116"/>
            </a:xfrm>
            <a:prstGeom prst="rect">
              <a:avLst/>
            </a:prstGeom>
          </p:spPr>
        </p:pic>
        <p:sp>
          <p:nvSpPr>
            <p:cNvPr id="2" name="Rectángulo 1">
              <a:extLst>
                <a:ext uri="{FF2B5EF4-FFF2-40B4-BE49-F238E27FC236}">
                  <a16:creationId xmlns:a16="http://schemas.microsoft.com/office/drawing/2014/main" id="{3441F079-CD8E-43E7-BE6B-4C241759C61E}"/>
                </a:ext>
              </a:extLst>
            </p:cNvPr>
            <p:cNvSpPr/>
            <p:nvPr/>
          </p:nvSpPr>
          <p:spPr>
            <a:xfrm>
              <a:off x="2894202" y="2969703"/>
              <a:ext cx="2835479" cy="45929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0" name="CuadroTexto 9">
            <a:extLst>
              <a:ext uri="{FF2B5EF4-FFF2-40B4-BE49-F238E27FC236}">
                <a16:creationId xmlns:a16="http://schemas.microsoft.com/office/drawing/2014/main" id="{700EA5AF-704E-45C8-9C8A-926A6CF6DDA5}"/>
              </a:ext>
            </a:extLst>
          </p:cNvPr>
          <p:cNvSpPr txBox="1"/>
          <p:nvPr/>
        </p:nvSpPr>
        <p:spPr>
          <a:xfrm>
            <a:off x="433431" y="2320873"/>
            <a:ext cx="4577461" cy="523220"/>
          </a:xfrm>
          <a:prstGeom prst="rect">
            <a:avLst/>
          </a:prstGeom>
          <a:solidFill>
            <a:srgbClr val="001C54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r>
              <a:rPr lang="es-ES" sz="1400" dirty="0">
                <a:solidFill>
                  <a:schemeClr val="bg1"/>
                </a:solidFill>
              </a:rPr>
              <a:t>Iniciamos el modelo con </a:t>
            </a:r>
            <a:r>
              <a:rPr lang="es-ES" sz="1400" dirty="0" err="1">
                <a:solidFill>
                  <a:schemeClr val="bg1"/>
                </a:solidFill>
              </a:rPr>
              <a:t>Secuential</a:t>
            </a:r>
            <a:r>
              <a:rPr lang="es-ES" sz="1400" dirty="0">
                <a:solidFill>
                  <a:schemeClr val="bg1"/>
                </a:solidFill>
              </a:rPr>
              <a:t>() de </a:t>
            </a:r>
            <a:r>
              <a:rPr lang="es-ES" sz="1400" dirty="0" err="1">
                <a:solidFill>
                  <a:schemeClr val="bg1"/>
                </a:solidFill>
              </a:rPr>
              <a:t>Keras</a:t>
            </a:r>
            <a:r>
              <a:rPr lang="es-ES" sz="1400" dirty="0">
                <a:solidFill>
                  <a:schemeClr val="bg1"/>
                </a:solidFill>
              </a:rPr>
              <a:t>:</a:t>
            </a:r>
          </a:p>
          <a:p>
            <a:r>
              <a:rPr lang="en-US" sz="1400" b="0" dirty="0">
                <a:solidFill>
                  <a:srgbClr val="C586C0"/>
                </a:solidFill>
                <a:effectLst/>
                <a:latin typeface="Courier New" panose="02070309020205020404" pitchFamily="49" charset="0"/>
              </a:rPr>
              <a:t>from</a:t>
            </a:r>
            <a:r>
              <a:rPr lang="en-US" sz="1400" b="0" dirty="0">
                <a:solidFill>
                  <a:srgbClr val="D4D4D4"/>
                </a:solidFill>
                <a:effectLst/>
                <a:latin typeface="Courier New" panose="02070309020205020404" pitchFamily="49" charset="0"/>
              </a:rPr>
              <a:t> </a:t>
            </a:r>
            <a:r>
              <a:rPr lang="en-US" sz="1400" b="0" dirty="0" err="1">
                <a:solidFill>
                  <a:srgbClr val="D4D4D4"/>
                </a:solidFill>
                <a:effectLst/>
                <a:latin typeface="Courier New" panose="02070309020205020404" pitchFamily="49" charset="0"/>
              </a:rPr>
              <a:t>tensorflow.keras</a:t>
            </a:r>
            <a:r>
              <a:rPr lang="en-US" sz="1400" b="0" dirty="0">
                <a:solidFill>
                  <a:srgbClr val="D4D4D4"/>
                </a:solidFill>
                <a:effectLst/>
                <a:latin typeface="Courier New" panose="02070309020205020404" pitchFamily="49" charset="0"/>
              </a:rPr>
              <a:t> </a:t>
            </a:r>
            <a:r>
              <a:rPr lang="en-US" sz="1400" b="0" dirty="0">
                <a:solidFill>
                  <a:srgbClr val="C586C0"/>
                </a:solidFill>
                <a:effectLst/>
                <a:latin typeface="Courier New" panose="02070309020205020404" pitchFamily="49" charset="0"/>
              </a:rPr>
              <a:t>import</a:t>
            </a:r>
            <a:r>
              <a:rPr lang="en-US" sz="1400" b="0" dirty="0">
                <a:solidFill>
                  <a:srgbClr val="D4D4D4"/>
                </a:solidFill>
                <a:effectLst/>
                <a:latin typeface="Courier New" panose="02070309020205020404" pitchFamily="49" charset="0"/>
              </a:rPr>
              <a:t> Sequential</a:t>
            </a:r>
          </a:p>
        </p:txBody>
      </p:sp>
    </p:spTree>
    <p:extLst>
      <p:ext uri="{BB962C8B-B14F-4D97-AF65-F5344CB8AC3E}">
        <p14:creationId xmlns:p14="http://schemas.microsoft.com/office/powerpoint/2010/main" val="9174388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unglasses_POWER_USER_SEPARATOR_ICONS_glasses_POWER_USER_SEPARATOR_ICONS_lab_POWER_USER_SEPARATOR_ICONS_look_POWER_USER_SEPARATOR_ICONS_see_POWER_USER_SEPARATOR_ICONS_shades_POWER_USER_SEPARATOR_ICONS_vision"/>
</p:tagLst>
</file>

<file path=ppt/theme/theme1.xml><?xml version="1.0" encoding="utf-8"?>
<a:theme xmlns:a="http://schemas.openxmlformats.org/drawingml/2006/main" name="Tema de Office">
  <a:themeElements>
    <a:clrScheme name="Personalizado 3">
      <a:dk1>
        <a:srgbClr val="002060"/>
      </a:dk1>
      <a:lt1>
        <a:srgbClr val="FFFFFF"/>
      </a:lt1>
      <a:dk2>
        <a:srgbClr val="C00000"/>
      </a:dk2>
      <a:lt2>
        <a:srgbClr val="FFFFFF"/>
      </a:lt2>
      <a:accent1>
        <a:srgbClr val="375623"/>
      </a:accent1>
      <a:accent2>
        <a:srgbClr val="757070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2384</TotalTime>
  <Words>878</Words>
  <Application>Microsoft Office PowerPoint</Application>
  <PresentationFormat>Panorámica</PresentationFormat>
  <Paragraphs>130</Paragraphs>
  <Slides>13</Slides>
  <Notes>0</Notes>
  <HiddenSlides>0</HiddenSlides>
  <MMClips>0</MMClips>
  <ScaleCrop>false</ScaleCrop>
  <HeadingPairs>
    <vt:vector size="6" baseType="variant">
      <vt:variant>
        <vt:lpstr>Fuentes usadas</vt:lpstr>
      </vt:variant>
      <vt:variant>
        <vt:i4>6</vt:i4>
      </vt:variant>
      <vt:variant>
        <vt:lpstr>Tema</vt:lpstr>
      </vt:variant>
      <vt:variant>
        <vt:i4>1</vt:i4>
      </vt:variant>
      <vt:variant>
        <vt:lpstr>Títulos de diapositiva</vt:lpstr>
      </vt:variant>
      <vt:variant>
        <vt:i4>13</vt:i4>
      </vt:variant>
    </vt:vector>
  </HeadingPairs>
  <TitlesOfParts>
    <vt:vector size="20" baseType="lpstr">
      <vt:lpstr>Arial</vt:lpstr>
      <vt:lpstr>Calibri</vt:lpstr>
      <vt:lpstr>Cambria Math</vt:lpstr>
      <vt:lpstr>Century Gothic</vt:lpstr>
      <vt:lpstr>Courier New</vt:lpstr>
      <vt:lpstr>Wingdings</vt:lpstr>
      <vt:lpstr>Tema de Office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Ignacio Valenzuela</dc:creator>
  <cp:lastModifiedBy>Ignacio Valenzuela</cp:lastModifiedBy>
  <cp:revision>139</cp:revision>
  <dcterms:created xsi:type="dcterms:W3CDTF">2020-01-17T12:48:37Z</dcterms:created>
  <dcterms:modified xsi:type="dcterms:W3CDTF">2021-05-10T17:13:22Z</dcterms:modified>
</cp:coreProperties>
</file>